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93" r:id="rId4"/>
  </p:sldMasterIdLst>
  <p:notesMasterIdLst>
    <p:notesMasterId r:id="rId14"/>
  </p:notesMasterIdLst>
  <p:handoutMasterIdLst>
    <p:handoutMasterId r:id="rId15"/>
  </p:handoutMasterIdLst>
  <p:sldIdLst>
    <p:sldId id="674" r:id="rId5"/>
    <p:sldId id="679" r:id="rId6"/>
    <p:sldId id="675" r:id="rId7"/>
    <p:sldId id="712" r:id="rId8"/>
    <p:sldId id="676" r:id="rId9"/>
    <p:sldId id="952" r:id="rId10"/>
    <p:sldId id="281" r:id="rId11"/>
    <p:sldId id="765" r:id="rId12"/>
    <p:sldId id="955" r:id="rId13"/>
  </p:sldIdLst>
  <p:sldSz cx="9144000" cy="6858000" type="screen4x3"/>
  <p:notesSz cx="7315200" cy="96012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ika H" initials="A" lastIdx="9" clrIdx="0">
    <p:extLst>
      <p:ext uri="{19B8F6BF-5375-455C-9EA6-DF929625EA0E}">
        <p15:presenceInfo xmlns:p15="http://schemas.microsoft.com/office/powerpoint/2012/main" userId="Tamika 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65A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B9A4AC-3859-48A6-9E4D-9C49887B00C8}" v="971" dt="2023-02-03T01:02:20.3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504" autoAdjust="0"/>
  </p:normalViewPr>
  <p:slideViewPr>
    <p:cSldViewPr snapToGrid="0">
      <p:cViewPr>
        <p:scale>
          <a:sx n="100" d="100"/>
          <a:sy n="100" d="100"/>
        </p:scale>
        <p:origin x="462" y="750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lden, Robert" userId="S::rogolden@deloitte.com::e29a84d5-4bdc-4cc8-8c2a-8f188b4d0479" providerId="AD" clId="Web-{0D3F21DE-1F9B-45AD-8466-AD5CCE4030E2}"/>
    <pc:docChg chg="modSld">
      <pc:chgData name="Golden, Robert" userId="S::rogolden@deloitte.com::e29a84d5-4bdc-4cc8-8c2a-8f188b4d0479" providerId="AD" clId="Web-{0D3F21DE-1F9B-45AD-8466-AD5CCE4030E2}" dt="2022-08-17T19:15:22.800" v="192" actId="20577"/>
      <pc:docMkLst>
        <pc:docMk/>
      </pc:docMkLst>
      <pc:sldChg chg="modSp">
        <pc:chgData name="Golden, Robert" userId="S::rogolden@deloitte.com::e29a84d5-4bdc-4cc8-8c2a-8f188b4d0479" providerId="AD" clId="Web-{0D3F21DE-1F9B-45AD-8466-AD5CCE4030E2}" dt="2022-08-17T19:15:22.800" v="192" actId="20577"/>
        <pc:sldMkLst>
          <pc:docMk/>
          <pc:sldMk cId="2552575641" sldId="344"/>
        </pc:sldMkLst>
        <pc:spChg chg="mod">
          <ac:chgData name="Golden, Robert" userId="S::rogolden@deloitte.com::e29a84d5-4bdc-4cc8-8c2a-8f188b4d0479" providerId="AD" clId="Web-{0D3F21DE-1F9B-45AD-8466-AD5CCE4030E2}" dt="2022-08-17T19:15:22.800" v="192" actId="20577"/>
          <ac:spMkLst>
            <pc:docMk/>
            <pc:sldMk cId="2552575641" sldId="344"/>
            <ac:spMk id="4" creationId="{00000000-0000-0000-0000-000000000000}"/>
          </ac:spMkLst>
        </pc:spChg>
        <pc:spChg chg="mod">
          <ac:chgData name="Golden, Robert" userId="S::rogolden@deloitte.com::e29a84d5-4bdc-4cc8-8c2a-8f188b4d0479" providerId="AD" clId="Web-{0D3F21DE-1F9B-45AD-8466-AD5CCE4030E2}" dt="2022-08-17T19:15:07.268" v="187" actId="20577"/>
          <ac:spMkLst>
            <pc:docMk/>
            <pc:sldMk cId="2552575641" sldId="344"/>
            <ac:spMk id="5" creationId="{00000000-0000-0000-0000-000000000000}"/>
          </ac:spMkLst>
        </pc:spChg>
      </pc:sldChg>
    </pc:docChg>
  </pc:docChgLst>
  <pc:docChgLst>
    <pc:chgData name="Robles, Daniel" userId="S::darobles@deloitte.com::fbcefa1a-afe9-41c1-8f2c-c18cf39f3320" providerId="AD" clId="Web-{2E6BBA14-D920-464D-B325-45ADD4E50532}"/>
    <pc:docChg chg="addSld delSld modSld">
      <pc:chgData name="Robles, Daniel" userId="S::darobles@deloitte.com::fbcefa1a-afe9-41c1-8f2c-c18cf39f3320" providerId="AD" clId="Web-{2E6BBA14-D920-464D-B325-45ADD4E50532}" dt="2022-08-18T16:05:46.481" v="749" actId="20577"/>
      <pc:docMkLst>
        <pc:docMk/>
      </pc:docMkLst>
      <pc:sldChg chg="addSp delSp modSp">
        <pc:chgData name="Robles, Daniel" userId="S::darobles@deloitte.com::fbcefa1a-afe9-41c1-8f2c-c18cf39f3320" providerId="AD" clId="Web-{2E6BBA14-D920-464D-B325-45ADD4E50532}" dt="2022-08-18T16:05:46.481" v="749" actId="20577"/>
        <pc:sldMkLst>
          <pc:docMk/>
          <pc:sldMk cId="870859583" sldId="453"/>
        </pc:sldMkLst>
        <pc:spChg chg="del mod">
          <ac:chgData name="Robles, Daniel" userId="S::darobles@deloitte.com::fbcefa1a-afe9-41c1-8f2c-c18cf39f3320" providerId="AD" clId="Web-{2E6BBA14-D920-464D-B325-45ADD4E50532}" dt="2022-08-18T15:53:14.154" v="88"/>
          <ac:spMkLst>
            <pc:docMk/>
            <pc:sldMk cId="870859583" sldId="453"/>
            <ac:spMk id="2" creationId="{00000000-0000-0000-0000-000000000000}"/>
          </ac:spMkLst>
        </pc:spChg>
        <pc:spChg chg="add del mod">
          <ac:chgData name="Robles, Daniel" userId="S::darobles@deloitte.com::fbcefa1a-afe9-41c1-8f2c-c18cf39f3320" providerId="AD" clId="Web-{2E6BBA14-D920-464D-B325-45ADD4E50532}" dt="2022-08-18T15:53:23.014" v="92"/>
          <ac:spMkLst>
            <pc:docMk/>
            <pc:sldMk cId="870859583" sldId="453"/>
            <ac:spMk id="7" creationId="{F0252BB7-B0B3-354E-24C2-85BFE5449A20}"/>
          </ac:spMkLst>
        </pc:spChg>
        <pc:spChg chg="add mod">
          <ac:chgData name="Robles, Daniel" userId="S::darobles@deloitte.com::fbcefa1a-afe9-41c1-8f2c-c18cf39f3320" providerId="AD" clId="Web-{2E6BBA14-D920-464D-B325-45ADD4E50532}" dt="2022-08-18T16:05:46.481" v="749" actId="20577"/>
          <ac:spMkLst>
            <pc:docMk/>
            <pc:sldMk cId="870859583" sldId="453"/>
            <ac:spMk id="9" creationId="{DE9801A4-F168-4EA9-AD72-E02433E36F0A}"/>
          </ac:spMkLst>
        </pc:spChg>
        <pc:spChg chg="add mod">
          <ac:chgData name="Robles, Daniel" userId="S::darobles@deloitte.com::fbcefa1a-afe9-41c1-8f2c-c18cf39f3320" providerId="AD" clId="Web-{2E6BBA14-D920-464D-B325-45ADD4E50532}" dt="2022-08-18T16:02:40.708" v="516" actId="20577"/>
          <ac:spMkLst>
            <pc:docMk/>
            <pc:sldMk cId="870859583" sldId="453"/>
            <ac:spMk id="11" creationId="{D72E9ADD-4202-A031-8B6D-6DC83476C383}"/>
          </ac:spMkLst>
        </pc:spChg>
        <pc:spChg chg="add del mod">
          <ac:chgData name="Robles, Daniel" userId="S::darobles@deloitte.com::fbcefa1a-afe9-41c1-8f2c-c18cf39f3320" providerId="AD" clId="Web-{2E6BBA14-D920-464D-B325-45ADD4E50532}" dt="2022-08-18T16:02:18.145" v="485"/>
          <ac:spMkLst>
            <pc:docMk/>
            <pc:sldMk cId="870859583" sldId="453"/>
            <ac:spMk id="14" creationId="{A362780B-B10C-CAD8-C925-C2B9BFFC382F}"/>
          </ac:spMkLst>
        </pc:spChg>
        <pc:picChg chg="mod">
          <ac:chgData name="Robles, Daniel" userId="S::darobles@deloitte.com::fbcefa1a-afe9-41c1-8f2c-c18cf39f3320" providerId="AD" clId="Web-{2E6BBA14-D920-464D-B325-45ADD4E50532}" dt="2022-08-18T16:02:48.802" v="517" actId="1076"/>
          <ac:picMkLst>
            <pc:docMk/>
            <pc:sldMk cId="870859583" sldId="453"/>
            <ac:picMk id="3" creationId="{E92A26A2-533B-8FE6-58BE-89CCDE09B889}"/>
          </ac:picMkLst>
        </pc:picChg>
        <pc:picChg chg="del mod">
          <ac:chgData name="Robles, Daniel" userId="S::darobles@deloitte.com::fbcefa1a-afe9-41c1-8f2c-c18cf39f3320" providerId="AD" clId="Web-{2E6BBA14-D920-464D-B325-45ADD4E50532}" dt="2022-08-18T15:55:47.989" v="270"/>
          <ac:picMkLst>
            <pc:docMk/>
            <pc:sldMk cId="870859583" sldId="453"/>
            <ac:picMk id="4" creationId="{6EFAC7DB-AF15-C317-8ECB-5367DB440F3A}"/>
          </ac:picMkLst>
        </pc:picChg>
        <pc:picChg chg="add del mod">
          <ac:chgData name="Robles, Daniel" userId="S::darobles@deloitte.com::fbcefa1a-afe9-41c1-8f2c-c18cf39f3320" providerId="AD" clId="Web-{2E6BBA14-D920-464D-B325-45ADD4E50532}" dt="2022-08-18T15:47:39.172" v="14"/>
          <ac:picMkLst>
            <pc:docMk/>
            <pc:sldMk cId="870859583" sldId="453"/>
            <ac:picMk id="5" creationId="{D79F9864-2A59-195F-9A52-D3CD40DFC5AF}"/>
          </ac:picMkLst>
        </pc:picChg>
        <pc:picChg chg="add mod">
          <ac:chgData name="Robles, Daniel" userId="S::darobles@deloitte.com::fbcefa1a-afe9-41c1-8f2c-c18cf39f3320" providerId="AD" clId="Web-{2E6BBA14-D920-464D-B325-45ADD4E50532}" dt="2022-08-18T16:03:01.662" v="521" actId="1076"/>
          <ac:picMkLst>
            <pc:docMk/>
            <pc:sldMk cId="870859583" sldId="453"/>
            <ac:picMk id="13" creationId="{8F80455C-A9B0-3EBA-E9F2-A73125B771B6}"/>
          </ac:picMkLst>
        </pc:picChg>
      </pc:sldChg>
      <pc:sldChg chg="addSp delSp modSp">
        <pc:chgData name="Robles, Daniel" userId="S::darobles@deloitte.com::fbcefa1a-afe9-41c1-8f2c-c18cf39f3320" providerId="AD" clId="Web-{2E6BBA14-D920-464D-B325-45ADD4E50532}" dt="2022-08-18T15:51:27.744" v="46" actId="1076"/>
        <pc:sldMkLst>
          <pc:docMk/>
          <pc:sldMk cId="1073662527" sldId="461"/>
        </pc:sldMkLst>
        <pc:spChg chg="del mod">
          <ac:chgData name="Robles, Daniel" userId="S::darobles@deloitte.com::fbcefa1a-afe9-41c1-8f2c-c18cf39f3320" providerId="AD" clId="Web-{2E6BBA14-D920-464D-B325-45ADD4E50532}" dt="2022-08-18T15:48:58.457" v="29"/>
          <ac:spMkLst>
            <pc:docMk/>
            <pc:sldMk cId="1073662527" sldId="461"/>
            <ac:spMk id="7" creationId="{B9037E84-9636-1A87-A1F9-B0A01C2C8901}"/>
          </ac:spMkLst>
        </pc:spChg>
        <pc:spChg chg="mod">
          <ac:chgData name="Robles, Daniel" userId="S::darobles@deloitte.com::fbcefa1a-afe9-41c1-8f2c-c18cf39f3320" providerId="AD" clId="Web-{2E6BBA14-D920-464D-B325-45ADD4E50532}" dt="2022-08-18T15:51:27.744" v="46" actId="1076"/>
          <ac:spMkLst>
            <pc:docMk/>
            <pc:sldMk cId="1073662527" sldId="461"/>
            <ac:spMk id="25" creationId="{CED28989-BF99-8D9C-37B1-75454F2517CD}"/>
          </ac:spMkLst>
        </pc:spChg>
        <pc:spChg chg="mod">
          <ac:chgData name="Robles, Daniel" userId="S::darobles@deloitte.com::fbcefa1a-afe9-41c1-8f2c-c18cf39f3320" providerId="AD" clId="Web-{2E6BBA14-D920-464D-B325-45ADD4E50532}" dt="2022-08-18T15:51:24.793" v="45" actId="1076"/>
          <ac:spMkLst>
            <pc:docMk/>
            <pc:sldMk cId="1073662527" sldId="461"/>
            <ac:spMk id="27" creationId="{5AAE6B28-B99D-0699-78BF-326160205E40}"/>
          </ac:spMkLst>
        </pc:spChg>
        <pc:picChg chg="del mod">
          <ac:chgData name="Robles, Daniel" userId="S::darobles@deloitte.com::fbcefa1a-afe9-41c1-8f2c-c18cf39f3320" providerId="AD" clId="Web-{2E6BBA14-D920-464D-B325-45ADD4E50532}" dt="2022-08-18T15:46:38.045" v="11"/>
          <ac:picMkLst>
            <pc:docMk/>
            <pc:sldMk cId="1073662527" sldId="461"/>
            <ac:picMk id="2" creationId="{EC5AE12D-4D16-8699-2525-E28B1762D634}"/>
          </ac:picMkLst>
        </pc:picChg>
        <pc:picChg chg="add mod ord modCrop">
          <ac:chgData name="Robles, Daniel" userId="S::darobles@deloitte.com::fbcefa1a-afe9-41c1-8f2c-c18cf39f3320" providerId="AD" clId="Web-{2E6BBA14-D920-464D-B325-45ADD4E50532}" dt="2022-08-18T15:51:16.462" v="44"/>
          <ac:picMkLst>
            <pc:docMk/>
            <pc:sldMk cId="1073662527" sldId="461"/>
            <ac:picMk id="3" creationId="{2D58D0F4-9583-C38F-F908-956A68668CE0}"/>
          </ac:picMkLst>
        </pc:picChg>
      </pc:sldChg>
      <pc:sldChg chg="add del replId">
        <pc:chgData name="Robles, Daniel" userId="S::darobles@deloitte.com::fbcefa1a-afe9-41c1-8f2c-c18cf39f3320" providerId="AD" clId="Web-{2E6BBA14-D920-464D-B325-45ADD4E50532}" dt="2022-08-18T15:57:16.367" v="287"/>
        <pc:sldMkLst>
          <pc:docMk/>
          <pc:sldMk cId="707169570" sldId="462"/>
        </pc:sldMkLst>
      </pc:sldChg>
    </pc:docChg>
  </pc:docChgLst>
  <pc:docChgLst>
    <pc:chgData name="Robles, Daniel" userId="S::darobles@deloitte.com::fbcefa1a-afe9-41c1-8f2c-c18cf39f3320" providerId="AD" clId="Web-{31DFEC00-65EA-42F7-8F88-717BC6A0CBCA}"/>
    <pc:docChg chg="modSld">
      <pc:chgData name="Robles, Daniel" userId="S::darobles@deloitte.com::fbcefa1a-afe9-41c1-8f2c-c18cf39f3320" providerId="AD" clId="Web-{31DFEC00-65EA-42F7-8F88-717BC6A0CBCA}" dt="2022-08-17T23:00:56.441" v="5" actId="1076"/>
      <pc:docMkLst>
        <pc:docMk/>
      </pc:docMkLst>
      <pc:sldChg chg="addSp delSp modSp">
        <pc:chgData name="Robles, Daniel" userId="S::darobles@deloitte.com::fbcefa1a-afe9-41c1-8f2c-c18cf39f3320" providerId="AD" clId="Web-{31DFEC00-65EA-42F7-8F88-717BC6A0CBCA}" dt="2022-08-17T23:00:56.441" v="5" actId="1076"/>
        <pc:sldMkLst>
          <pc:docMk/>
          <pc:sldMk cId="870859583" sldId="453"/>
        </pc:sldMkLst>
        <pc:picChg chg="add mod">
          <ac:chgData name="Robles, Daniel" userId="S::darobles@deloitte.com::fbcefa1a-afe9-41c1-8f2c-c18cf39f3320" providerId="AD" clId="Web-{31DFEC00-65EA-42F7-8F88-717BC6A0CBCA}" dt="2022-08-17T23:00:56.441" v="5" actId="1076"/>
          <ac:picMkLst>
            <pc:docMk/>
            <pc:sldMk cId="870859583" sldId="453"/>
            <ac:picMk id="3" creationId="{E92A26A2-533B-8FE6-58BE-89CCDE09B889}"/>
          </ac:picMkLst>
        </pc:picChg>
        <pc:picChg chg="del">
          <ac:chgData name="Robles, Daniel" userId="S::darobles@deloitte.com::fbcefa1a-afe9-41c1-8f2c-c18cf39f3320" providerId="AD" clId="Web-{31DFEC00-65EA-42F7-8F88-717BC6A0CBCA}" dt="2022-08-17T22:59:48.877" v="3"/>
          <ac:picMkLst>
            <pc:docMk/>
            <pc:sldMk cId="870859583" sldId="453"/>
            <ac:picMk id="4" creationId="{835F77C5-64C6-7CB0-60FD-B79D83424BD0}"/>
          </ac:picMkLst>
        </pc:picChg>
        <pc:picChg chg="del">
          <ac:chgData name="Robles, Daniel" userId="S::darobles@deloitte.com::fbcefa1a-afe9-41c1-8f2c-c18cf39f3320" providerId="AD" clId="Web-{31DFEC00-65EA-42F7-8F88-717BC6A0CBCA}" dt="2022-08-17T22:59:48.018" v="1"/>
          <ac:picMkLst>
            <pc:docMk/>
            <pc:sldMk cId="870859583" sldId="453"/>
            <ac:picMk id="5" creationId="{78413095-53FB-8790-496E-0EB782FFF00A}"/>
          </ac:picMkLst>
        </pc:picChg>
        <pc:picChg chg="del">
          <ac:chgData name="Robles, Daniel" userId="S::darobles@deloitte.com::fbcefa1a-afe9-41c1-8f2c-c18cf39f3320" providerId="AD" clId="Web-{31DFEC00-65EA-42F7-8F88-717BC6A0CBCA}" dt="2022-08-17T22:59:48.190" v="2"/>
          <ac:picMkLst>
            <pc:docMk/>
            <pc:sldMk cId="870859583" sldId="453"/>
            <ac:picMk id="6" creationId="{D48CB8AA-25EE-1172-F7FA-CE7B58AF9F81}"/>
          </ac:picMkLst>
        </pc:picChg>
        <pc:picChg chg="del">
          <ac:chgData name="Robles, Daniel" userId="S::darobles@deloitte.com::fbcefa1a-afe9-41c1-8f2c-c18cf39f3320" providerId="AD" clId="Web-{31DFEC00-65EA-42F7-8F88-717BC6A0CBCA}" dt="2022-08-17T22:59:46.752" v="0"/>
          <ac:picMkLst>
            <pc:docMk/>
            <pc:sldMk cId="870859583" sldId="453"/>
            <ac:picMk id="7" creationId="{1B230D01-62E8-1B69-A98D-BDF5F9F96CAE}"/>
          </ac:picMkLst>
        </pc:picChg>
      </pc:sldChg>
    </pc:docChg>
  </pc:docChgLst>
  <pc:docChgLst>
    <pc:chgData name="Robles, Daniel" userId="S::darobles@deloitte.com::fbcefa1a-afe9-41c1-8f2c-c18cf39f3320" providerId="AD" clId="Web-{C4B306EF-E31A-45C9-8D45-DF57A68A62BF}"/>
    <pc:docChg chg="modSld">
      <pc:chgData name="Robles, Daniel" userId="S::darobles@deloitte.com::fbcefa1a-afe9-41c1-8f2c-c18cf39f3320" providerId="AD" clId="Web-{C4B306EF-E31A-45C9-8D45-DF57A68A62BF}" dt="2022-08-17T23:02:44.991" v="5" actId="1076"/>
      <pc:docMkLst>
        <pc:docMk/>
      </pc:docMkLst>
      <pc:sldChg chg="addSp modSp">
        <pc:chgData name="Robles, Daniel" userId="S::darobles@deloitte.com::fbcefa1a-afe9-41c1-8f2c-c18cf39f3320" providerId="AD" clId="Web-{C4B306EF-E31A-45C9-8D45-DF57A68A62BF}" dt="2022-08-17T23:02:44.991" v="5" actId="1076"/>
        <pc:sldMkLst>
          <pc:docMk/>
          <pc:sldMk cId="870859583" sldId="453"/>
        </pc:sldMkLst>
        <pc:picChg chg="add mod">
          <ac:chgData name="Robles, Daniel" userId="S::darobles@deloitte.com::fbcefa1a-afe9-41c1-8f2c-c18cf39f3320" providerId="AD" clId="Web-{C4B306EF-E31A-45C9-8D45-DF57A68A62BF}" dt="2022-08-17T23:01:54.818" v="1" actId="1076"/>
          <ac:picMkLst>
            <pc:docMk/>
            <pc:sldMk cId="870859583" sldId="453"/>
            <ac:picMk id="4" creationId="{6EFAC7DB-AF15-C317-8ECB-5367DB440F3A}"/>
          </ac:picMkLst>
        </pc:picChg>
        <pc:picChg chg="add mod">
          <ac:chgData name="Robles, Daniel" userId="S::darobles@deloitte.com::fbcefa1a-afe9-41c1-8f2c-c18cf39f3320" providerId="AD" clId="Web-{C4B306EF-E31A-45C9-8D45-DF57A68A62BF}" dt="2022-08-17T23:02:26.959" v="3" actId="1076"/>
          <ac:picMkLst>
            <pc:docMk/>
            <pc:sldMk cId="870859583" sldId="453"/>
            <ac:picMk id="5" creationId="{A75BC50C-9336-4BD2-6C6B-2AAF3025D173}"/>
          </ac:picMkLst>
        </pc:picChg>
        <pc:picChg chg="add mod">
          <ac:chgData name="Robles, Daniel" userId="S::darobles@deloitte.com::fbcefa1a-afe9-41c1-8f2c-c18cf39f3320" providerId="AD" clId="Web-{C4B306EF-E31A-45C9-8D45-DF57A68A62BF}" dt="2022-08-17T23:02:44.991" v="5" actId="1076"/>
          <ac:picMkLst>
            <pc:docMk/>
            <pc:sldMk cId="870859583" sldId="453"/>
            <ac:picMk id="6" creationId="{EF768D26-7E3D-0D80-583B-129F0B4F03C9}"/>
          </ac:picMkLst>
        </pc:picChg>
      </pc:sldChg>
    </pc:docChg>
  </pc:docChgLst>
  <pc:docChgLst>
    <pc:chgData name="Sandlin, Maya" userId="S::msandlin@deloitte.com::329295a2-1b91-4dc4-8178-61636d7de7a9" providerId="AD" clId="Web-{7F77F5F8-7DF0-6FD4-A95C-B0862BB3566C}"/>
    <pc:docChg chg="modSld">
      <pc:chgData name="Sandlin, Maya" userId="S::msandlin@deloitte.com::329295a2-1b91-4dc4-8178-61636d7de7a9" providerId="AD" clId="Web-{7F77F5F8-7DF0-6FD4-A95C-B0862BB3566C}" dt="2022-08-19T17:12:33.876" v="2" actId="20577"/>
      <pc:docMkLst>
        <pc:docMk/>
      </pc:docMkLst>
      <pc:sldChg chg="modSp">
        <pc:chgData name="Sandlin, Maya" userId="S::msandlin@deloitte.com::329295a2-1b91-4dc4-8178-61636d7de7a9" providerId="AD" clId="Web-{7F77F5F8-7DF0-6FD4-A95C-B0862BB3566C}" dt="2022-08-19T17:12:33.876" v="2" actId="20577"/>
        <pc:sldMkLst>
          <pc:docMk/>
          <pc:sldMk cId="3876084295" sldId="677"/>
        </pc:sldMkLst>
        <pc:spChg chg="mod">
          <ac:chgData name="Sandlin, Maya" userId="S::msandlin@deloitte.com::329295a2-1b91-4dc4-8178-61636d7de7a9" providerId="AD" clId="Web-{7F77F5F8-7DF0-6FD4-A95C-B0862BB3566C}" dt="2022-08-19T17:12:33.876" v="2" actId="20577"/>
          <ac:spMkLst>
            <pc:docMk/>
            <pc:sldMk cId="3876084295" sldId="677"/>
            <ac:spMk id="6" creationId="{00000000-0000-0000-0000-000000000000}"/>
          </ac:spMkLst>
        </pc:spChg>
      </pc:sldChg>
    </pc:docChg>
  </pc:docChgLst>
  <pc:docChgLst>
    <pc:chgData name="Gupta, Maanik" userId="S::maagupta@deloitte.com::df80c2e9-1ba8-47de-bdfe-c5555afca713" providerId="AD" clId="Web-{92FAABA8-30AC-49FA-B24A-2D801EA65FE1}"/>
    <pc:docChg chg="delSld modSld">
      <pc:chgData name="Gupta, Maanik" userId="S::maagupta@deloitte.com::df80c2e9-1ba8-47de-bdfe-c5555afca713" providerId="AD" clId="Web-{92FAABA8-30AC-49FA-B24A-2D801EA65FE1}" dt="2022-08-18T14:40:06.732" v="118" actId="20577"/>
      <pc:docMkLst>
        <pc:docMk/>
      </pc:docMkLst>
      <pc:sldChg chg="modSp">
        <pc:chgData name="Gupta, Maanik" userId="S::maagupta@deloitte.com::df80c2e9-1ba8-47de-bdfe-c5555afca713" providerId="AD" clId="Web-{92FAABA8-30AC-49FA-B24A-2D801EA65FE1}" dt="2022-08-18T14:34:03.594" v="2" actId="1076"/>
        <pc:sldMkLst>
          <pc:docMk/>
          <pc:sldMk cId="1485223179" sldId="436"/>
        </pc:sldMkLst>
        <pc:picChg chg="mod">
          <ac:chgData name="Gupta, Maanik" userId="S::maagupta@deloitte.com::df80c2e9-1ba8-47de-bdfe-c5555afca713" providerId="AD" clId="Web-{92FAABA8-30AC-49FA-B24A-2D801EA65FE1}" dt="2022-08-18T14:34:03.594" v="2" actId="1076"/>
          <ac:picMkLst>
            <pc:docMk/>
            <pc:sldMk cId="1485223179" sldId="436"/>
            <ac:picMk id="10" creationId="{9D5C5EF4-9CCA-4665-825B-F674776CB05F}"/>
          </ac:picMkLst>
        </pc:picChg>
      </pc:sldChg>
      <pc:sldChg chg="del">
        <pc:chgData name="Gupta, Maanik" userId="S::maagupta@deloitte.com::df80c2e9-1ba8-47de-bdfe-c5555afca713" providerId="AD" clId="Web-{92FAABA8-30AC-49FA-B24A-2D801EA65FE1}" dt="2022-08-18T14:35:39.149" v="3"/>
        <pc:sldMkLst>
          <pc:docMk/>
          <pc:sldMk cId="3619711413" sldId="452"/>
        </pc:sldMkLst>
      </pc:sldChg>
      <pc:sldChg chg="addSp delSp modSp mod modClrScheme chgLayout">
        <pc:chgData name="Gupta, Maanik" userId="S::maagupta@deloitte.com::df80c2e9-1ba8-47de-bdfe-c5555afca713" providerId="AD" clId="Web-{92FAABA8-30AC-49FA-B24A-2D801EA65FE1}" dt="2022-08-18T14:40:06.732" v="118" actId="20577"/>
        <pc:sldMkLst>
          <pc:docMk/>
          <pc:sldMk cId="763584098" sldId="457"/>
        </pc:sldMkLst>
        <pc:spChg chg="mod ord">
          <ac:chgData name="Gupta, Maanik" userId="S::maagupta@deloitte.com::df80c2e9-1ba8-47de-bdfe-c5555afca713" providerId="AD" clId="Web-{92FAABA8-30AC-49FA-B24A-2D801EA65FE1}" dt="2022-08-18T14:40:06.732" v="118" actId="20577"/>
          <ac:spMkLst>
            <pc:docMk/>
            <pc:sldMk cId="763584098" sldId="457"/>
            <ac:spMk id="2" creationId="{B8035859-814E-F5F7-F9EF-AB55CD884CEE}"/>
          </ac:spMkLst>
        </pc:spChg>
        <pc:spChg chg="add del mod">
          <ac:chgData name="Gupta, Maanik" userId="S::maagupta@deloitte.com::df80c2e9-1ba8-47de-bdfe-c5555afca713" providerId="AD" clId="Web-{92FAABA8-30AC-49FA-B24A-2D801EA65FE1}" dt="2022-08-18T14:38:59.586" v="37"/>
          <ac:spMkLst>
            <pc:docMk/>
            <pc:sldMk cId="763584098" sldId="457"/>
            <ac:spMk id="4" creationId="{96331117-0D72-A4C4-FC17-10F181EDF307}"/>
          </ac:spMkLst>
        </pc:spChg>
        <pc:spChg chg="mod ord">
          <ac:chgData name="Gupta, Maanik" userId="S::maagupta@deloitte.com::df80c2e9-1ba8-47de-bdfe-c5555afca713" providerId="AD" clId="Web-{92FAABA8-30AC-49FA-B24A-2D801EA65FE1}" dt="2022-08-18T14:39:14.572" v="55" actId="20577"/>
          <ac:spMkLst>
            <pc:docMk/>
            <pc:sldMk cId="763584098" sldId="457"/>
            <ac:spMk id="5" creationId="{139D7704-6031-3EF0-D2DC-25A108321A72}"/>
          </ac:spMkLst>
        </pc:spChg>
        <pc:spChg chg="del">
          <ac:chgData name="Gupta, Maanik" userId="S::maagupta@deloitte.com::df80c2e9-1ba8-47de-bdfe-c5555afca713" providerId="AD" clId="Web-{92FAABA8-30AC-49FA-B24A-2D801EA65FE1}" dt="2022-08-18T14:38:59.586" v="37"/>
          <ac:spMkLst>
            <pc:docMk/>
            <pc:sldMk cId="763584098" sldId="457"/>
            <ac:spMk id="6" creationId="{11317627-C664-3ADA-B79B-041D8A8856E1}"/>
          </ac:spMkLst>
        </pc:spChg>
        <pc:spChg chg="del mod">
          <ac:chgData name="Gupta, Maanik" userId="S::maagupta@deloitte.com::df80c2e9-1ba8-47de-bdfe-c5555afca713" providerId="AD" clId="Web-{92FAABA8-30AC-49FA-B24A-2D801EA65FE1}" dt="2022-08-18T14:36:05.385" v="7"/>
          <ac:spMkLst>
            <pc:docMk/>
            <pc:sldMk cId="763584098" sldId="457"/>
            <ac:spMk id="7" creationId="{61ADFE62-F855-B647-FE07-D2335A9A1036}"/>
          </ac:spMkLst>
        </pc:spChg>
        <pc:spChg chg="del">
          <ac:chgData name="Gupta, Maanik" userId="S::maagupta@deloitte.com::df80c2e9-1ba8-47de-bdfe-c5555afca713" providerId="AD" clId="Web-{92FAABA8-30AC-49FA-B24A-2D801EA65FE1}" dt="2022-08-18T14:38:59.586" v="37"/>
          <ac:spMkLst>
            <pc:docMk/>
            <pc:sldMk cId="763584098" sldId="457"/>
            <ac:spMk id="8" creationId="{67560C70-BB44-8A2E-A211-1090BB971B10}"/>
          </ac:spMkLst>
        </pc:spChg>
      </pc:sldChg>
    </pc:docChg>
  </pc:docChgLst>
  <pc:docChgLst>
    <pc:chgData name="Gupta, Maanik" userId="S::maagupta@deloitte.com::df80c2e9-1ba8-47de-bdfe-c5555afca713" providerId="AD" clId="Web-{AB53182D-CAFC-4D9B-9834-120E6313DEC6}"/>
    <pc:docChg chg="modSld">
      <pc:chgData name="Gupta, Maanik" userId="S::maagupta@deloitte.com::df80c2e9-1ba8-47de-bdfe-c5555afca713" providerId="AD" clId="Web-{AB53182D-CAFC-4D9B-9834-120E6313DEC6}" dt="2022-08-18T18:02:37.298" v="194" actId="20577"/>
      <pc:docMkLst>
        <pc:docMk/>
      </pc:docMkLst>
      <pc:sldChg chg="modSp">
        <pc:chgData name="Gupta, Maanik" userId="S::maagupta@deloitte.com::df80c2e9-1ba8-47de-bdfe-c5555afca713" providerId="AD" clId="Web-{AB53182D-CAFC-4D9B-9834-120E6313DEC6}" dt="2022-08-18T18:00:08.761" v="186" actId="20577"/>
        <pc:sldMkLst>
          <pc:docMk/>
          <pc:sldMk cId="2552575641" sldId="344"/>
        </pc:sldMkLst>
        <pc:spChg chg="mod">
          <ac:chgData name="Gupta, Maanik" userId="S::maagupta@deloitte.com::df80c2e9-1ba8-47de-bdfe-c5555afca713" providerId="AD" clId="Web-{AB53182D-CAFC-4D9B-9834-120E6313DEC6}" dt="2022-08-18T18:00:08.761" v="186" actId="20577"/>
          <ac:spMkLst>
            <pc:docMk/>
            <pc:sldMk cId="2552575641" sldId="344"/>
            <ac:spMk id="5" creationId="{00000000-0000-0000-0000-000000000000}"/>
          </ac:spMkLst>
        </pc:spChg>
      </pc:sldChg>
      <pc:sldChg chg="modSp">
        <pc:chgData name="Gupta, Maanik" userId="S::maagupta@deloitte.com::df80c2e9-1ba8-47de-bdfe-c5555afca713" providerId="AD" clId="Web-{AB53182D-CAFC-4D9B-9834-120E6313DEC6}" dt="2022-08-18T18:01:38.624" v="192" actId="1076"/>
        <pc:sldMkLst>
          <pc:docMk/>
          <pc:sldMk cId="2863314461" sldId="451"/>
        </pc:sldMkLst>
        <pc:spChg chg="mod">
          <ac:chgData name="Gupta, Maanik" userId="S::maagupta@deloitte.com::df80c2e9-1ba8-47de-bdfe-c5555afca713" providerId="AD" clId="Web-{AB53182D-CAFC-4D9B-9834-120E6313DEC6}" dt="2022-08-18T18:01:24.889" v="191" actId="20577"/>
          <ac:spMkLst>
            <pc:docMk/>
            <pc:sldMk cId="2863314461" sldId="451"/>
            <ac:spMk id="5" creationId="{00000000-0000-0000-0000-000000000000}"/>
          </ac:spMkLst>
        </pc:spChg>
        <pc:picChg chg="mod">
          <ac:chgData name="Gupta, Maanik" userId="S::maagupta@deloitte.com::df80c2e9-1ba8-47de-bdfe-c5555afca713" providerId="AD" clId="Web-{AB53182D-CAFC-4D9B-9834-120E6313DEC6}" dt="2022-08-18T18:01:38.624" v="192" actId="1076"/>
          <ac:picMkLst>
            <pc:docMk/>
            <pc:sldMk cId="2863314461" sldId="451"/>
            <ac:picMk id="8" creationId="{B0D375E8-1F3E-4C05-A81C-D37E339FC77D}"/>
          </ac:picMkLst>
        </pc:picChg>
      </pc:sldChg>
      <pc:sldChg chg="modSp">
        <pc:chgData name="Gupta, Maanik" userId="S::maagupta@deloitte.com::df80c2e9-1ba8-47de-bdfe-c5555afca713" providerId="AD" clId="Web-{AB53182D-CAFC-4D9B-9834-120E6313DEC6}" dt="2022-08-18T18:02:37.298" v="194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AB53182D-CAFC-4D9B-9834-120E6313DEC6}" dt="2022-08-18T18:02:37.298" v="194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Robles, Daniel" userId="S::darobles@deloitte.com::fbcefa1a-afe9-41c1-8f2c-c18cf39f3320" providerId="AD" clId="Web-{A05FC522-5D94-4125-94E3-9CCB23E9B82D}"/>
    <pc:docChg chg="addSld modSld">
      <pc:chgData name="Robles, Daniel" userId="S::darobles@deloitte.com::fbcefa1a-afe9-41c1-8f2c-c18cf39f3320" providerId="AD" clId="Web-{A05FC522-5D94-4125-94E3-9CCB23E9B82D}" dt="2022-08-18T15:14:54.847" v="11" actId="14100"/>
      <pc:docMkLst>
        <pc:docMk/>
      </pc:docMkLst>
      <pc:sldChg chg="delSp modSp">
        <pc:chgData name="Robles, Daniel" userId="S::darobles@deloitte.com::fbcefa1a-afe9-41c1-8f2c-c18cf39f3320" providerId="AD" clId="Web-{A05FC522-5D94-4125-94E3-9CCB23E9B82D}" dt="2022-08-18T15:14:54.847" v="11" actId="14100"/>
        <pc:sldMkLst>
          <pc:docMk/>
          <pc:sldMk cId="870859583" sldId="453"/>
        </pc:sldMkLst>
        <pc:picChg chg="mod">
          <ac:chgData name="Robles, Daniel" userId="S::darobles@deloitte.com::fbcefa1a-afe9-41c1-8f2c-c18cf39f3320" providerId="AD" clId="Web-{A05FC522-5D94-4125-94E3-9CCB23E9B82D}" dt="2022-08-18T15:14:54.847" v="11" actId="14100"/>
          <ac:picMkLst>
            <pc:docMk/>
            <pc:sldMk cId="870859583" sldId="453"/>
            <ac:picMk id="3" creationId="{E92A26A2-533B-8FE6-58BE-89CCDE09B889}"/>
          </ac:picMkLst>
        </pc:picChg>
        <pc:picChg chg="mod">
          <ac:chgData name="Robles, Daniel" userId="S::darobles@deloitte.com::fbcefa1a-afe9-41c1-8f2c-c18cf39f3320" providerId="AD" clId="Web-{A05FC522-5D94-4125-94E3-9CCB23E9B82D}" dt="2022-08-18T15:14:50.096" v="10" actId="14100"/>
          <ac:picMkLst>
            <pc:docMk/>
            <pc:sldMk cId="870859583" sldId="453"/>
            <ac:picMk id="4" creationId="{6EFAC7DB-AF15-C317-8ECB-5367DB440F3A}"/>
          </ac:picMkLst>
        </pc:picChg>
        <pc:picChg chg="del">
          <ac:chgData name="Robles, Daniel" userId="S::darobles@deloitte.com::fbcefa1a-afe9-41c1-8f2c-c18cf39f3320" providerId="AD" clId="Web-{A05FC522-5D94-4125-94E3-9CCB23E9B82D}" dt="2022-08-18T15:14:28.720" v="1"/>
          <ac:picMkLst>
            <pc:docMk/>
            <pc:sldMk cId="870859583" sldId="453"/>
            <ac:picMk id="5" creationId="{A75BC50C-9336-4BD2-6C6B-2AAF3025D173}"/>
          </ac:picMkLst>
        </pc:picChg>
        <pc:picChg chg="del">
          <ac:chgData name="Robles, Daniel" userId="S::darobles@deloitte.com::fbcefa1a-afe9-41c1-8f2c-c18cf39f3320" providerId="AD" clId="Web-{A05FC522-5D94-4125-94E3-9CCB23E9B82D}" dt="2022-08-18T15:14:29.345" v="2"/>
          <ac:picMkLst>
            <pc:docMk/>
            <pc:sldMk cId="870859583" sldId="453"/>
            <ac:picMk id="6" creationId="{EF768D26-7E3D-0D80-583B-129F0B4F03C9}"/>
          </ac:picMkLst>
        </pc:picChg>
      </pc:sldChg>
      <pc:sldChg chg="add replId">
        <pc:chgData name="Robles, Daniel" userId="S::darobles@deloitte.com::fbcefa1a-afe9-41c1-8f2c-c18cf39f3320" providerId="AD" clId="Web-{A05FC522-5D94-4125-94E3-9CCB23E9B82D}" dt="2022-08-18T15:14:20.516" v="0"/>
        <pc:sldMkLst>
          <pc:docMk/>
          <pc:sldMk cId="50797011" sldId="460"/>
        </pc:sldMkLst>
      </pc:sldChg>
    </pc:docChg>
  </pc:docChgLst>
  <pc:docChgLst>
    <pc:chgData name="Robles, Daniel" userId="S::darobles@deloitte.com::fbcefa1a-afe9-41c1-8f2c-c18cf39f3320" providerId="AD" clId="Web-{243086A9-003C-48AB-A052-2BF3E3497D08}"/>
    <pc:docChg chg="modSld">
      <pc:chgData name="Robles, Daniel" userId="S::darobles@deloitte.com::fbcefa1a-afe9-41c1-8f2c-c18cf39f3320" providerId="AD" clId="Web-{243086A9-003C-48AB-A052-2BF3E3497D08}" dt="2022-08-18T16:27:31.478" v="4" actId="20577"/>
      <pc:docMkLst>
        <pc:docMk/>
      </pc:docMkLst>
      <pc:sldChg chg="modSp">
        <pc:chgData name="Robles, Daniel" userId="S::darobles@deloitte.com::fbcefa1a-afe9-41c1-8f2c-c18cf39f3320" providerId="AD" clId="Web-{243086A9-003C-48AB-A052-2BF3E3497D08}" dt="2022-08-18T16:25:19.022" v="2" actId="14100"/>
        <pc:sldMkLst>
          <pc:docMk/>
          <pc:sldMk cId="1485223179" sldId="436"/>
        </pc:sldMkLst>
        <pc:spChg chg="mod">
          <ac:chgData name="Robles, Daniel" userId="S::darobles@deloitte.com::fbcefa1a-afe9-41c1-8f2c-c18cf39f3320" providerId="AD" clId="Web-{243086A9-003C-48AB-A052-2BF3E3497D08}" dt="2022-08-18T16:25:19.022" v="2" actId="14100"/>
          <ac:spMkLst>
            <pc:docMk/>
            <pc:sldMk cId="1485223179" sldId="436"/>
            <ac:spMk id="2" creationId="{1A53A8AD-38C0-4854-81B3-9B99B4E007ED}"/>
          </ac:spMkLst>
        </pc:spChg>
        <pc:picChg chg="mod">
          <ac:chgData name="Robles, Daniel" userId="S::darobles@deloitte.com::fbcefa1a-afe9-41c1-8f2c-c18cf39f3320" providerId="AD" clId="Web-{243086A9-003C-48AB-A052-2BF3E3497D08}" dt="2022-08-18T16:25:13.756" v="1" actId="1076"/>
          <ac:picMkLst>
            <pc:docMk/>
            <pc:sldMk cId="1485223179" sldId="436"/>
            <ac:picMk id="4" creationId="{23F709F7-E7F6-4C9F-A786-7C9CB6D933E9}"/>
          </ac:picMkLst>
        </pc:picChg>
      </pc:sldChg>
      <pc:sldChg chg="modSp">
        <pc:chgData name="Robles, Daniel" userId="S::darobles@deloitte.com::fbcefa1a-afe9-41c1-8f2c-c18cf39f3320" providerId="AD" clId="Web-{243086A9-003C-48AB-A052-2BF3E3497D08}" dt="2022-08-18T16:27:31.478" v="4" actId="20577"/>
        <pc:sldMkLst>
          <pc:docMk/>
          <pc:sldMk cId="1223724206" sldId="458"/>
        </pc:sldMkLst>
        <pc:spChg chg="mod">
          <ac:chgData name="Robles, Daniel" userId="S::darobles@deloitte.com::fbcefa1a-afe9-41c1-8f2c-c18cf39f3320" providerId="AD" clId="Web-{243086A9-003C-48AB-A052-2BF3E3497D08}" dt="2022-08-18T16:27:31.478" v="4" actId="20577"/>
          <ac:spMkLst>
            <pc:docMk/>
            <pc:sldMk cId="1223724206" sldId="458"/>
            <ac:spMk id="2" creationId="{78551FFF-6221-A16C-D62E-DE14EA63441F}"/>
          </ac:spMkLst>
        </pc:spChg>
      </pc:sldChg>
    </pc:docChg>
  </pc:docChgLst>
  <pc:docChgLst>
    <pc:chgData name="Gupta, Maanik" userId="S::maagupta@deloitte.com::df80c2e9-1ba8-47de-bdfe-c5555afca713" providerId="AD" clId="Web-{40D0CFBA-DEE7-4031-AC3D-43DC9E55EACB}"/>
    <pc:docChg chg="addSld modSld">
      <pc:chgData name="Gupta, Maanik" userId="S::maagupta@deloitte.com::df80c2e9-1ba8-47de-bdfe-c5555afca713" providerId="AD" clId="Web-{40D0CFBA-DEE7-4031-AC3D-43DC9E55EACB}" dt="2022-08-17T21:21:12.948" v="2"/>
      <pc:docMkLst>
        <pc:docMk/>
      </pc:docMkLst>
      <pc:sldChg chg="addSp delSp modSp new mod modClrScheme chgLayout">
        <pc:chgData name="Gupta, Maanik" userId="S::maagupta@deloitte.com::df80c2e9-1ba8-47de-bdfe-c5555afca713" providerId="AD" clId="Web-{40D0CFBA-DEE7-4031-AC3D-43DC9E55EACB}" dt="2022-08-17T21:21:12.948" v="2"/>
        <pc:sldMkLst>
          <pc:docMk/>
          <pc:sldMk cId="3619711413" sldId="452"/>
        </pc:sldMkLst>
        <pc:spChg chg="mod ord">
          <ac:chgData name="Gupta, Maanik" userId="S::maagupta@deloitte.com::df80c2e9-1ba8-47de-bdfe-c5555afca713" providerId="AD" clId="Web-{40D0CFBA-DEE7-4031-AC3D-43DC9E55EACB}" dt="2022-08-17T21:21:12.948" v="2"/>
          <ac:spMkLst>
            <pc:docMk/>
            <pc:sldMk cId="3619711413" sldId="452"/>
            <ac:spMk id="2" creationId="{B8035859-814E-F5F7-F9EF-AB55CD884CEE}"/>
          </ac:spMkLst>
        </pc:spChg>
        <pc:spChg chg="del">
          <ac:chgData name="Gupta, Maanik" userId="S::maagupta@deloitte.com::df80c2e9-1ba8-47de-bdfe-c5555afca713" providerId="AD" clId="Web-{40D0CFBA-DEE7-4031-AC3D-43DC9E55EACB}" dt="2022-08-17T21:21:02.198" v="1"/>
          <ac:spMkLst>
            <pc:docMk/>
            <pc:sldMk cId="3619711413" sldId="452"/>
            <ac:spMk id="3" creationId="{C61104CB-CB65-D5D5-1012-612AEC8F76FE}"/>
          </ac:spMkLst>
        </pc:spChg>
        <pc:spChg chg="del">
          <ac:chgData name="Gupta, Maanik" userId="S::maagupta@deloitte.com::df80c2e9-1ba8-47de-bdfe-c5555afca713" providerId="AD" clId="Web-{40D0CFBA-DEE7-4031-AC3D-43DC9E55EACB}" dt="2022-08-17T21:21:02.198" v="1"/>
          <ac:spMkLst>
            <pc:docMk/>
            <pc:sldMk cId="3619711413" sldId="452"/>
            <ac:spMk id="4" creationId="{4884CC4D-7C87-3A82-1FC0-C165CA5F3109}"/>
          </ac:spMkLst>
        </pc:spChg>
        <pc:spChg chg="mod ord">
          <ac:chgData name="Gupta, Maanik" userId="S::maagupta@deloitte.com::df80c2e9-1ba8-47de-bdfe-c5555afca713" providerId="AD" clId="Web-{40D0CFBA-DEE7-4031-AC3D-43DC9E55EACB}" dt="2022-08-17T21:21:12.948" v="2"/>
          <ac:spMkLst>
            <pc:docMk/>
            <pc:sldMk cId="3619711413" sldId="452"/>
            <ac:spMk id="5" creationId="{139D7704-6031-3EF0-D2DC-25A108321A72}"/>
          </ac:spMkLst>
        </pc:spChg>
        <pc:spChg chg="add mod ord">
          <ac:chgData name="Gupta, Maanik" userId="S::maagupta@deloitte.com::df80c2e9-1ba8-47de-bdfe-c5555afca713" providerId="AD" clId="Web-{40D0CFBA-DEE7-4031-AC3D-43DC9E55EACB}" dt="2022-08-17T21:21:12.948" v="2"/>
          <ac:spMkLst>
            <pc:docMk/>
            <pc:sldMk cId="3619711413" sldId="452"/>
            <ac:spMk id="6" creationId="{11317627-C664-3ADA-B79B-041D8A8856E1}"/>
          </ac:spMkLst>
        </pc:spChg>
        <pc:spChg chg="add mod ord">
          <ac:chgData name="Gupta, Maanik" userId="S::maagupta@deloitte.com::df80c2e9-1ba8-47de-bdfe-c5555afca713" providerId="AD" clId="Web-{40D0CFBA-DEE7-4031-AC3D-43DC9E55EACB}" dt="2022-08-17T21:21:12.948" v="2"/>
          <ac:spMkLst>
            <pc:docMk/>
            <pc:sldMk cId="3619711413" sldId="452"/>
            <ac:spMk id="7" creationId="{61ADFE62-F855-B647-FE07-D2335A9A1036}"/>
          </ac:spMkLst>
        </pc:spChg>
        <pc:spChg chg="add mod ord">
          <ac:chgData name="Gupta, Maanik" userId="S::maagupta@deloitte.com::df80c2e9-1ba8-47de-bdfe-c5555afca713" providerId="AD" clId="Web-{40D0CFBA-DEE7-4031-AC3D-43DC9E55EACB}" dt="2022-08-17T21:21:12.948" v="2"/>
          <ac:spMkLst>
            <pc:docMk/>
            <pc:sldMk cId="3619711413" sldId="452"/>
            <ac:spMk id="8" creationId="{67560C70-BB44-8A2E-A211-1090BB971B10}"/>
          </ac:spMkLst>
        </pc:spChg>
      </pc:sldChg>
    </pc:docChg>
  </pc:docChgLst>
  <pc:docChgLst>
    <pc:chgData name="Gupta, Maanik" userId="S::maagupta@deloitte.com::df80c2e9-1ba8-47de-bdfe-c5555afca713" providerId="AD" clId="Web-{9D86D629-1755-4309-986E-51CDABB6E11B}"/>
    <pc:docChg chg="addSld delSld modSld">
      <pc:chgData name="Gupta, Maanik" userId="S::maagupta@deloitte.com::df80c2e9-1ba8-47de-bdfe-c5555afca713" providerId="AD" clId="Web-{9D86D629-1755-4309-986E-51CDABB6E11B}" dt="2022-08-18T17:45:00.902" v="654" actId="20577"/>
      <pc:docMkLst>
        <pc:docMk/>
      </pc:docMkLst>
      <pc:sldChg chg="modSp">
        <pc:chgData name="Gupta, Maanik" userId="S::maagupta@deloitte.com::df80c2e9-1ba8-47de-bdfe-c5555afca713" providerId="AD" clId="Web-{9D86D629-1755-4309-986E-51CDABB6E11B}" dt="2022-08-18T17:35:52.709" v="367" actId="20577"/>
        <pc:sldMkLst>
          <pc:docMk/>
          <pc:sldMk cId="2552575641" sldId="344"/>
        </pc:sldMkLst>
        <pc:spChg chg="mod">
          <ac:chgData name="Gupta, Maanik" userId="S::maagupta@deloitte.com::df80c2e9-1ba8-47de-bdfe-c5555afca713" providerId="AD" clId="Web-{9D86D629-1755-4309-986E-51CDABB6E11B}" dt="2022-08-18T17:35:52.709" v="367" actId="20577"/>
          <ac:spMkLst>
            <pc:docMk/>
            <pc:sldMk cId="2552575641" sldId="344"/>
            <ac:spMk id="5" creationId="{00000000-0000-0000-0000-000000000000}"/>
          </ac:spMkLst>
        </pc:spChg>
      </pc:sldChg>
      <pc:sldChg chg="modSp modNotes">
        <pc:chgData name="Gupta, Maanik" userId="S::maagupta@deloitte.com::df80c2e9-1ba8-47de-bdfe-c5555afca713" providerId="AD" clId="Web-{9D86D629-1755-4309-986E-51CDABB6E11B}" dt="2022-08-18T17:45:00.902" v="654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9D86D629-1755-4309-986E-51CDABB6E11B}" dt="2022-08-18T17:45:00.902" v="654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 add del replId modNotes">
        <pc:chgData name="Gupta, Maanik" userId="S::maagupta@deloitte.com::df80c2e9-1ba8-47de-bdfe-c5555afca713" providerId="AD" clId="Web-{9D86D629-1755-4309-986E-51CDABB6E11B}" dt="2022-08-18T17:37:20.322" v="382"/>
        <pc:sldMkLst>
          <pc:docMk/>
          <pc:sldMk cId="2406713114" sldId="673"/>
        </pc:sldMkLst>
        <pc:spChg chg="mod">
          <ac:chgData name="Gupta, Maanik" userId="S::maagupta@deloitte.com::df80c2e9-1ba8-47de-bdfe-c5555afca713" providerId="AD" clId="Web-{9D86D629-1755-4309-986E-51CDABB6E11B}" dt="2022-08-18T17:28:47.880" v="17" actId="1076"/>
          <ac:spMkLst>
            <pc:docMk/>
            <pc:sldMk cId="2406713114" sldId="673"/>
            <ac:spMk id="73" creationId="{50C42B8C-7B2A-4510-8D4A-D7D635822455}"/>
          </ac:spMkLst>
        </pc:spChg>
        <pc:grpChg chg="mod">
          <ac:chgData name="Gupta, Maanik" userId="S::maagupta@deloitte.com::df80c2e9-1ba8-47de-bdfe-c5555afca713" providerId="AD" clId="Web-{9D86D629-1755-4309-986E-51CDABB6E11B}" dt="2022-08-18T17:37:01.212" v="378" actId="1076"/>
          <ac:grpSpMkLst>
            <pc:docMk/>
            <pc:sldMk cId="2406713114" sldId="673"/>
            <ac:grpSpMk id="5" creationId="{299C7319-A339-43A2-99F0-65D28EBE86B7}"/>
          </ac:grpSpMkLst>
        </pc:grpChg>
        <pc:grpChg chg="mod">
          <ac:chgData name="Gupta, Maanik" userId="S::maagupta@deloitte.com::df80c2e9-1ba8-47de-bdfe-c5555afca713" providerId="AD" clId="Web-{9D86D629-1755-4309-986E-51CDABB6E11B}" dt="2022-08-18T17:37:10.822" v="381" actId="1076"/>
          <ac:grpSpMkLst>
            <pc:docMk/>
            <pc:sldMk cId="2406713114" sldId="673"/>
            <ac:grpSpMk id="36" creationId="{DDFCDC39-B13B-4F47-BD36-3E2E57D5E389}"/>
          </ac:grpSpMkLst>
        </pc:grpChg>
      </pc:sldChg>
    </pc:docChg>
  </pc:docChgLst>
  <pc:docChgLst>
    <pc:chgData name="Gupta, Maanik" userId="S::maagupta@deloitte.com::df80c2e9-1ba8-47de-bdfe-c5555afca713" providerId="AD" clId="Web-{04CA23D1-513C-488E-A209-4C4752616909}"/>
    <pc:docChg chg="modSld">
      <pc:chgData name="Gupta, Maanik" userId="S::maagupta@deloitte.com::df80c2e9-1ba8-47de-bdfe-c5555afca713" providerId="AD" clId="Web-{04CA23D1-513C-488E-A209-4C4752616909}" dt="2022-08-19T17:21:15.679" v="8" actId="14100"/>
      <pc:docMkLst>
        <pc:docMk/>
      </pc:docMkLst>
      <pc:sldChg chg="modSp">
        <pc:chgData name="Gupta, Maanik" userId="S::maagupta@deloitte.com::df80c2e9-1ba8-47de-bdfe-c5555afca713" providerId="AD" clId="Web-{04CA23D1-513C-488E-A209-4C4752616909}" dt="2022-08-19T17:21:15.679" v="8" actId="14100"/>
        <pc:sldMkLst>
          <pc:docMk/>
          <pc:sldMk cId="3470529705" sldId="682"/>
        </pc:sldMkLst>
        <pc:spChg chg="mod">
          <ac:chgData name="Gupta, Maanik" userId="S::maagupta@deloitte.com::df80c2e9-1ba8-47de-bdfe-c5555afca713" providerId="AD" clId="Web-{04CA23D1-513C-488E-A209-4C4752616909}" dt="2022-08-19T17:21:15.679" v="8" actId="14100"/>
          <ac:spMkLst>
            <pc:docMk/>
            <pc:sldMk cId="3470529705" sldId="682"/>
            <ac:spMk id="17" creationId="{7C4C072D-159D-BCD5-C6E1-1EC6720781D3}"/>
          </ac:spMkLst>
        </pc:spChg>
      </pc:sldChg>
    </pc:docChg>
  </pc:docChgLst>
  <pc:docChgLst>
    <pc:chgData name="Robles, Daniel" userId="S::darobles@deloitte.com::fbcefa1a-afe9-41c1-8f2c-c18cf39f3320" providerId="AD" clId="Web-{D3A319CB-967D-4B0C-B077-A7F6E86DD8BB}"/>
    <pc:docChg chg="modSld">
      <pc:chgData name="Robles, Daniel" userId="S::darobles@deloitte.com::fbcefa1a-afe9-41c1-8f2c-c18cf39f3320" providerId="AD" clId="Web-{D3A319CB-967D-4B0C-B077-A7F6E86DD8BB}" dt="2022-08-18T15:34:49.616" v="21"/>
      <pc:docMkLst>
        <pc:docMk/>
      </pc:docMkLst>
      <pc:sldChg chg="addSp delSp modSp mod modClrScheme chgLayout">
        <pc:chgData name="Robles, Daniel" userId="S::darobles@deloitte.com::fbcefa1a-afe9-41c1-8f2c-c18cf39f3320" providerId="AD" clId="Web-{D3A319CB-967D-4B0C-B077-A7F6E86DD8BB}" dt="2022-08-18T15:34:49.616" v="21"/>
        <pc:sldMkLst>
          <pc:docMk/>
          <pc:sldMk cId="1073662527" sldId="461"/>
        </pc:sldMkLst>
        <pc:spChg chg="add del mod">
          <ac:chgData name="Robles, Daniel" userId="S::darobles@deloitte.com::fbcefa1a-afe9-41c1-8f2c-c18cf39f3320" providerId="AD" clId="Web-{D3A319CB-967D-4B0C-B077-A7F6E86DD8BB}" dt="2022-08-18T15:31:12.095" v="3"/>
          <ac:spMkLst>
            <pc:docMk/>
            <pc:sldMk cId="1073662527" sldId="461"/>
            <ac:spMk id="2" creationId="{5046ECEA-B3B0-8050-A203-E6D7B018FA6A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1:34.939" v="8"/>
          <ac:spMkLst>
            <pc:docMk/>
            <pc:sldMk cId="1073662527" sldId="461"/>
            <ac:spMk id="3" creationId="{B5A13204-B19E-1F1F-05AB-00549BD7120D}"/>
          </ac:spMkLst>
        </pc:spChg>
        <pc:spChg chg="ord">
          <ac:chgData name="Robles, Daniel" userId="S::darobles@deloitte.com::fbcefa1a-afe9-41c1-8f2c-c18cf39f3320" providerId="AD" clId="Web-{D3A319CB-967D-4B0C-B077-A7F6E86DD8BB}" dt="2022-08-18T15:34:49.616" v="21"/>
          <ac:spMkLst>
            <pc:docMk/>
            <pc:sldMk cId="1073662527" sldId="461"/>
            <ac:spMk id="7" creationId="{B9037E84-9636-1A87-A1F9-B0A01C2C8901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04.709" v="15"/>
          <ac:spMkLst>
            <pc:docMk/>
            <pc:sldMk cId="1073662527" sldId="461"/>
            <ac:spMk id="12" creationId="{104ED4E7-9BC5-FFD7-79A4-B00017641298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04.709" v="15"/>
          <ac:spMkLst>
            <pc:docMk/>
            <pc:sldMk cId="1073662527" sldId="461"/>
            <ac:spMk id="14" creationId="{28DA5CCE-CE18-4689-A165-67E60DCF4BE2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08.146" v="17"/>
          <ac:spMkLst>
            <pc:docMk/>
            <pc:sldMk cId="1073662527" sldId="461"/>
            <ac:spMk id="16" creationId="{96A51A8E-911C-C6FE-4D5B-3E6885AC381B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08.146" v="17"/>
          <ac:spMkLst>
            <pc:docMk/>
            <pc:sldMk cId="1073662527" sldId="461"/>
            <ac:spMk id="17" creationId="{EB1AD035-A2DC-8AA3-C3C5-FB04CA910958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49.616" v="21"/>
          <ac:spMkLst>
            <pc:docMk/>
            <pc:sldMk cId="1073662527" sldId="461"/>
            <ac:spMk id="19" creationId="{104ED4E7-9BC5-FFD7-79A4-B00017641298}"/>
          </ac:spMkLst>
        </pc:spChg>
        <pc:spChg chg="add del mod">
          <ac:chgData name="Robles, Daniel" userId="S::darobles@deloitte.com::fbcefa1a-afe9-41c1-8f2c-c18cf39f3320" providerId="AD" clId="Web-{D3A319CB-967D-4B0C-B077-A7F6E86DD8BB}" dt="2022-08-18T15:34:49.616" v="21"/>
          <ac:spMkLst>
            <pc:docMk/>
            <pc:sldMk cId="1073662527" sldId="461"/>
            <ac:spMk id="20" creationId="{28DA5CCE-CE18-4689-A165-67E60DCF4BE2}"/>
          </ac:spMkLst>
        </pc:spChg>
        <pc:spChg chg="add">
          <ac:chgData name="Robles, Daniel" userId="S::darobles@deloitte.com::fbcefa1a-afe9-41c1-8f2c-c18cf39f3320" providerId="AD" clId="Web-{D3A319CB-967D-4B0C-B077-A7F6E86DD8BB}" dt="2022-08-18T15:34:49.616" v="21"/>
          <ac:spMkLst>
            <pc:docMk/>
            <pc:sldMk cId="1073662527" sldId="461"/>
            <ac:spMk id="25" creationId="{CED28989-BF99-8D9C-37B1-75454F2517CD}"/>
          </ac:spMkLst>
        </pc:spChg>
        <pc:spChg chg="add">
          <ac:chgData name="Robles, Daniel" userId="S::darobles@deloitte.com::fbcefa1a-afe9-41c1-8f2c-c18cf39f3320" providerId="AD" clId="Web-{D3A319CB-967D-4B0C-B077-A7F6E86DD8BB}" dt="2022-08-18T15:34:49.616" v="21"/>
          <ac:spMkLst>
            <pc:docMk/>
            <pc:sldMk cId="1073662527" sldId="461"/>
            <ac:spMk id="27" creationId="{5AAE6B28-B99D-0699-78BF-326160205E40}"/>
          </ac:spMkLst>
        </pc:spChg>
        <pc:picChg chg="add del mod">
          <ac:chgData name="Robles, Daniel" userId="S::darobles@deloitte.com::fbcefa1a-afe9-41c1-8f2c-c18cf39f3320" providerId="AD" clId="Web-{D3A319CB-967D-4B0C-B077-A7F6E86DD8BB}" dt="2022-08-18T15:33:41.239" v="10"/>
          <ac:picMkLst>
            <pc:docMk/>
            <pc:sldMk cId="1073662527" sldId="461"/>
            <ac:picMk id="4" creationId="{139AD3D4-22F0-DD01-8E89-C66E0BBF34C7}"/>
          </ac:picMkLst>
        </pc:picChg>
        <pc:picChg chg="add del mod">
          <ac:chgData name="Robles, Daniel" userId="S::darobles@deloitte.com::fbcefa1a-afe9-41c1-8f2c-c18cf39f3320" providerId="AD" clId="Web-{D3A319CB-967D-4B0C-B077-A7F6E86DD8BB}" dt="2022-08-18T15:34:44.616" v="19"/>
          <ac:picMkLst>
            <pc:docMk/>
            <pc:sldMk cId="1073662527" sldId="461"/>
            <ac:picMk id="5" creationId="{A217DE46-29BB-C680-7923-B3F9CBE63B84}"/>
          </ac:picMkLst>
        </pc:picChg>
        <pc:picChg chg="add mod">
          <ac:chgData name="Robles, Daniel" userId="S::darobles@deloitte.com::fbcefa1a-afe9-41c1-8f2c-c18cf39f3320" providerId="AD" clId="Web-{D3A319CB-967D-4B0C-B077-A7F6E86DD8BB}" dt="2022-08-18T15:34:49.616" v="21"/>
          <ac:picMkLst>
            <pc:docMk/>
            <pc:sldMk cId="1073662527" sldId="461"/>
            <ac:picMk id="6" creationId="{BCB0572B-B46A-F73B-383D-EB74EC54F4A2}"/>
          </ac:picMkLst>
        </pc:picChg>
      </pc:sldChg>
    </pc:docChg>
  </pc:docChgLst>
  <pc:docChgLst>
    <pc:chgData name="Gupta, Maanik" userId="S::maagupta@deloitte.com::df80c2e9-1ba8-47de-bdfe-c5555afca713" providerId="AD" clId="Web-{23522589-E9FA-4B9B-9819-AAC7D5E3E483}"/>
    <pc:docChg chg="modSld">
      <pc:chgData name="Gupta, Maanik" userId="S::maagupta@deloitte.com::df80c2e9-1ba8-47de-bdfe-c5555afca713" providerId="AD" clId="Web-{23522589-E9FA-4B9B-9819-AAC7D5E3E483}" dt="2022-08-18T15:15:26.365" v="14" actId="20577"/>
      <pc:docMkLst>
        <pc:docMk/>
      </pc:docMkLst>
      <pc:sldChg chg="modSp">
        <pc:chgData name="Gupta, Maanik" userId="S::maagupta@deloitte.com::df80c2e9-1ba8-47de-bdfe-c5555afca713" providerId="AD" clId="Web-{23522589-E9FA-4B9B-9819-AAC7D5E3E483}" dt="2022-08-18T15:15:26.365" v="14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23522589-E9FA-4B9B-9819-AAC7D5E3E483}" dt="2022-08-18T15:15:26.365" v="14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Golden, Robert" userId="S::rogolden@deloitte.com::e29a84d5-4bdc-4cc8-8c2a-8f188b4d0479" providerId="AD" clId="Web-{5AA74F77-228D-F644-AFBE-B8AB35EFFB82}"/>
    <pc:docChg chg="addSld delSld modSld sldOrd">
      <pc:chgData name="Golden, Robert" userId="S::rogolden@deloitte.com::e29a84d5-4bdc-4cc8-8c2a-8f188b4d0479" providerId="AD" clId="Web-{5AA74F77-228D-F644-AFBE-B8AB35EFFB82}" dt="2022-08-18T18:21:53.674" v="2739"/>
      <pc:docMkLst>
        <pc:docMk/>
      </pc:docMkLst>
      <pc:sldChg chg="modSp">
        <pc:chgData name="Golden, Robert" userId="S::rogolden@deloitte.com::e29a84d5-4bdc-4cc8-8c2a-8f188b4d0479" providerId="AD" clId="Web-{5AA74F77-228D-F644-AFBE-B8AB35EFFB82}" dt="2022-08-18T15:52:46.913" v="2558" actId="20577"/>
        <pc:sldMkLst>
          <pc:docMk/>
          <pc:sldMk cId="2552575641" sldId="344"/>
        </pc:sldMkLst>
        <pc:spChg chg="mod">
          <ac:chgData name="Golden, Robert" userId="S::rogolden@deloitte.com::e29a84d5-4bdc-4cc8-8c2a-8f188b4d0479" providerId="AD" clId="Web-{5AA74F77-228D-F644-AFBE-B8AB35EFFB82}" dt="2022-08-17T19:33:16.666" v="433" actId="20577"/>
          <ac:spMkLst>
            <pc:docMk/>
            <pc:sldMk cId="2552575641" sldId="344"/>
            <ac:spMk id="4" creationId="{00000000-0000-0000-0000-000000000000}"/>
          </ac:spMkLst>
        </pc:spChg>
        <pc:spChg chg="mod">
          <ac:chgData name="Golden, Robert" userId="S::rogolden@deloitte.com::e29a84d5-4bdc-4cc8-8c2a-8f188b4d0479" providerId="AD" clId="Web-{5AA74F77-228D-F644-AFBE-B8AB35EFFB82}" dt="2022-08-18T15:21:09.776" v="2495" actId="20577"/>
          <ac:spMkLst>
            <pc:docMk/>
            <pc:sldMk cId="2552575641" sldId="344"/>
            <ac:spMk id="5" creationId="{00000000-0000-0000-0000-000000000000}"/>
          </ac:spMkLst>
        </pc:spChg>
        <pc:spChg chg="mod">
          <ac:chgData name="Golden, Robert" userId="S::rogolden@deloitte.com::e29a84d5-4bdc-4cc8-8c2a-8f188b4d0479" providerId="AD" clId="Web-{5AA74F77-228D-F644-AFBE-B8AB35EFFB82}" dt="2022-08-18T15:52:46.913" v="2558" actId="20577"/>
          <ac:spMkLst>
            <pc:docMk/>
            <pc:sldMk cId="2552575641" sldId="344"/>
            <ac:spMk id="6" creationId="{00000000-0000-0000-0000-000000000000}"/>
          </ac:spMkLst>
        </pc:spChg>
      </pc:sldChg>
      <pc:sldChg chg="modSp">
        <pc:chgData name="Golden, Robert" userId="S::rogolden@deloitte.com::e29a84d5-4bdc-4cc8-8c2a-8f188b4d0479" providerId="AD" clId="Web-{5AA74F77-228D-F644-AFBE-B8AB35EFFB82}" dt="2022-08-17T19:46:36.289" v="1235" actId="20577"/>
        <pc:sldMkLst>
          <pc:docMk/>
          <pc:sldMk cId="1825728422" sldId="450"/>
        </pc:sldMkLst>
        <pc:spChg chg="mod">
          <ac:chgData name="Golden, Robert" userId="S::rogolden@deloitte.com::e29a84d5-4bdc-4cc8-8c2a-8f188b4d0479" providerId="AD" clId="Web-{5AA74F77-228D-F644-AFBE-B8AB35EFFB82}" dt="2022-08-17T19:46:36.289" v="1235" actId="20577"/>
          <ac:spMkLst>
            <pc:docMk/>
            <pc:sldMk cId="1825728422" sldId="450"/>
            <ac:spMk id="2" creationId="{00000000-0000-0000-0000-000000000000}"/>
          </ac:spMkLst>
        </pc:spChg>
      </pc:sldChg>
      <pc:sldChg chg="addSp delSp modSp add del ord replId">
        <pc:chgData name="Golden, Robert" userId="S::rogolden@deloitte.com::e29a84d5-4bdc-4cc8-8c2a-8f188b4d0479" providerId="AD" clId="Web-{5AA74F77-228D-F644-AFBE-B8AB35EFFB82}" dt="2022-08-18T18:21:53.674" v="2739"/>
        <pc:sldMkLst>
          <pc:docMk/>
          <pc:sldMk cId="2863314461" sldId="451"/>
        </pc:sldMkLst>
        <pc:spChg chg="mod">
          <ac:chgData name="Golden, Robert" userId="S::rogolden@deloitte.com::e29a84d5-4bdc-4cc8-8c2a-8f188b4d0479" providerId="AD" clId="Web-{5AA74F77-228D-F644-AFBE-B8AB35EFFB82}" dt="2022-08-17T21:22:29.520" v="1513" actId="20577"/>
          <ac:spMkLst>
            <pc:docMk/>
            <pc:sldMk cId="2863314461" sldId="451"/>
            <ac:spMk id="3" creationId="{00000000-0000-0000-0000-000000000000}"/>
          </ac:spMkLst>
        </pc:spChg>
        <pc:spChg chg="mod">
          <ac:chgData name="Golden, Robert" userId="S::rogolden@deloitte.com::e29a84d5-4bdc-4cc8-8c2a-8f188b4d0479" providerId="AD" clId="Web-{5AA74F77-228D-F644-AFBE-B8AB35EFFB82}" dt="2022-08-17T21:54:10.878" v="2378" actId="20577"/>
          <ac:spMkLst>
            <pc:docMk/>
            <pc:sldMk cId="2863314461" sldId="451"/>
            <ac:spMk id="4" creationId="{00000000-0000-0000-0000-000000000000}"/>
          </ac:spMkLst>
        </pc:spChg>
        <pc:spChg chg="mod">
          <ac:chgData name="Golden, Robert" userId="S::rogolden@deloitte.com::e29a84d5-4bdc-4cc8-8c2a-8f188b4d0479" providerId="AD" clId="Web-{5AA74F77-228D-F644-AFBE-B8AB35EFFB82}" dt="2022-08-18T17:58:22.460" v="2731" actId="20577"/>
          <ac:spMkLst>
            <pc:docMk/>
            <pc:sldMk cId="2863314461" sldId="451"/>
            <ac:spMk id="5" creationId="{00000000-0000-0000-0000-000000000000}"/>
          </ac:spMkLst>
        </pc:spChg>
        <pc:spChg chg="mod">
          <ac:chgData name="Golden, Robert" userId="S::rogolden@deloitte.com::e29a84d5-4bdc-4cc8-8c2a-8f188b4d0479" providerId="AD" clId="Web-{5AA74F77-228D-F644-AFBE-B8AB35EFFB82}" dt="2022-08-17T21:50:26.129" v="2287" actId="20577"/>
          <ac:spMkLst>
            <pc:docMk/>
            <pc:sldMk cId="2863314461" sldId="451"/>
            <ac:spMk id="6" creationId="{00000000-0000-0000-0000-000000000000}"/>
          </ac:spMkLst>
        </pc:spChg>
        <pc:picChg chg="add del mod">
          <ac:chgData name="Golden, Robert" userId="S::rogolden@deloitte.com::e29a84d5-4bdc-4cc8-8c2a-8f188b4d0479" providerId="AD" clId="Web-{5AA74F77-228D-F644-AFBE-B8AB35EFFB82}" dt="2022-08-18T13:45:33.302" v="2486"/>
          <ac:picMkLst>
            <pc:docMk/>
            <pc:sldMk cId="2863314461" sldId="451"/>
            <ac:picMk id="2" creationId="{51197102-00AC-4756-DF80-8116BBB06312}"/>
          </ac:picMkLst>
        </pc:picChg>
        <pc:picChg chg="mod modCrop">
          <ac:chgData name="Golden, Robert" userId="S::rogolden@deloitte.com::e29a84d5-4bdc-4cc8-8c2a-8f188b4d0479" providerId="AD" clId="Web-{5AA74F77-228D-F644-AFBE-B8AB35EFFB82}" dt="2022-08-18T17:59:20.273" v="2738" actId="1076"/>
          <ac:picMkLst>
            <pc:docMk/>
            <pc:sldMk cId="2863314461" sldId="451"/>
            <ac:picMk id="8" creationId="{B0D375E8-1F3E-4C05-A81C-D37E339FC77D}"/>
          </ac:picMkLst>
        </pc:picChg>
      </pc:sldChg>
      <pc:sldChg chg="modSp">
        <pc:chgData name="Golden, Robert" userId="S::rogolden@deloitte.com::e29a84d5-4bdc-4cc8-8c2a-8f188b4d0479" providerId="AD" clId="Web-{5AA74F77-228D-F644-AFBE-B8AB35EFFB82}" dt="2022-08-18T17:56:02.316" v="2696" actId="20577"/>
        <pc:sldMkLst>
          <pc:docMk/>
          <pc:sldMk cId="1714494625" sldId="459"/>
        </pc:sldMkLst>
        <pc:spChg chg="mod">
          <ac:chgData name="Golden, Robert" userId="S::rogolden@deloitte.com::e29a84d5-4bdc-4cc8-8c2a-8f188b4d0479" providerId="AD" clId="Web-{5AA74F77-228D-F644-AFBE-B8AB35EFFB82}" dt="2022-08-18T17:56:02.316" v="2696" actId="20577"/>
          <ac:spMkLst>
            <pc:docMk/>
            <pc:sldMk cId="1714494625" sldId="459"/>
            <ac:spMk id="5" creationId="{C2B756BC-73D1-43E2-6FB6-EE9424529B9B}"/>
          </ac:spMkLst>
        </pc:spChg>
        <pc:spChg chg="mod">
          <ac:chgData name="Golden, Robert" userId="S::rogolden@deloitte.com::e29a84d5-4bdc-4cc8-8c2a-8f188b4d0479" providerId="AD" clId="Web-{5AA74F77-228D-F644-AFBE-B8AB35EFFB82}" dt="2022-08-18T15:21:37.355" v="2498" actId="20577"/>
          <ac:spMkLst>
            <pc:docMk/>
            <pc:sldMk cId="1714494625" sldId="459"/>
            <ac:spMk id="6" creationId="{80FA4E29-28E0-53BB-4DBB-1BADEC688262}"/>
          </ac:spMkLst>
        </pc:spChg>
      </pc:sldChg>
      <pc:sldChg chg="modSp">
        <pc:chgData name="Golden, Robert" userId="S::rogolden@deloitte.com::e29a84d5-4bdc-4cc8-8c2a-8f188b4d0479" providerId="AD" clId="Web-{5AA74F77-228D-F644-AFBE-B8AB35EFFB82}" dt="2022-08-18T17:57:46.646" v="2728" actId="1076"/>
        <pc:sldMkLst>
          <pc:docMk/>
          <pc:sldMk cId="47003559" sldId="672"/>
        </pc:sldMkLst>
        <pc:spChg chg="mod">
          <ac:chgData name="Golden, Robert" userId="S::rogolden@deloitte.com::e29a84d5-4bdc-4cc8-8c2a-8f188b4d0479" providerId="AD" clId="Web-{5AA74F77-228D-F644-AFBE-B8AB35EFFB82}" dt="2022-08-18T17:57:05.599" v="2722" actId="20577"/>
          <ac:spMkLst>
            <pc:docMk/>
            <pc:sldMk cId="47003559" sldId="672"/>
            <ac:spMk id="65" creationId="{79C6B493-65F8-4AA1-82A6-36E2A64F434B}"/>
          </ac:spMkLst>
        </pc:spChg>
        <pc:spChg chg="mod">
          <ac:chgData name="Golden, Robert" userId="S::rogolden@deloitte.com::e29a84d5-4bdc-4cc8-8c2a-8f188b4d0479" providerId="AD" clId="Web-{5AA74F77-228D-F644-AFBE-B8AB35EFFB82}" dt="2022-08-18T17:56:42.551" v="2710" actId="20577"/>
          <ac:spMkLst>
            <pc:docMk/>
            <pc:sldMk cId="47003559" sldId="672"/>
            <ac:spMk id="66" creationId="{EBD0018F-F518-4C94-B08E-6D617F82B93A}"/>
          </ac:spMkLst>
        </pc:spChg>
        <pc:spChg chg="mod">
          <ac:chgData name="Golden, Robert" userId="S::rogolden@deloitte.com::e29a84d5-4bdc-4cc8-8c2a-8f188b4d0479" providerId="AD" clId="Web-{5AA74F77-228D-F644-AFBE-B8AB35EFFB82}" dt="2022-08-18T17:57:21.380" v="2725" actId="1076"/>
          <ac:spMkLst>
            <pc:docMk/>
            <pc:sldMk cId="47003559" sldId="672"/>
            <ac:spMk id="72" creationId="{AC12BF62-57A5-4BA6-A79C-F95F03328D4A}"/>
          </ac:spMkLst>
        </pc:spChg>
        <pc:spChg chg="mod">
          <ac:chgData name="Golden, Robert" userId="S::rogolden@deloitte.com::e29a84d5-4bdc-4cc8-8c2a-8f188b4d0479" providerId="AD" clId="Web-{5AA74F77-228D-F644-AFBE-B8AB35EFFB82}" dt="2022-08-18T17:57:46.646" v="2728" actId="1076"/>
          <ac:spMkLst>
            <pc:docMk/>
            <pc:sldMk cId="47003559" sldId="672"/>
            <ac:spMk id="73" creationId="{50C42B8C-7B2A-4510-8D4A-D7D635822455}"/>
          </ac:spMkLst>
        </pc:spChg>
      </pc:sldChg>
    </pc:docChg>
  </pc:docChgLst>
  <pc:docChgLst>
    <pc:chgData name="Robles, Daniel" userId="S::darobles@deloitte.com::fbcefa1a-afe9-41c1-8f2c-c18cf39f3320" providerId="AD" clId="Web-{6F24313F-5360-4F1C-8229-A5E89D6CCD7E}"/>
    <pc:docChg chg="modSld">
      <pc:chgData name="Robles, Daniel" userId="S::darobles@deloitte.com::fbcefa1a-afe9-41c1-8f2c-c18cf39f3320" providerId="AD" clId="Web-{6F24313F-5360-4F1C-8229-A5E89D6CCD7E}" dt="2022-08-17T22:41:16.447" v="3"/>
      <pc:docMkLst>
        <pc:docMk/>
      </pc:docMkLst>
      <pc:sldChg chg="delSp">
        <pc:chgData name="Robles, Daniel" userId="S::darobles@deloitte.com::fbcefa1a-afe9-41c1-8f2c-c18cf39f3320" providerId="AD" clId="Web-{6F24313F-5360-4F1C-8229-A5E89D6CCD7E}" dt="2022-08-17T22:41:16.447" v="3"/>
        <pc:sldMkLst>
          <pc:docMk/>
          <pc:sldMk cId="870859583" sldId="453"/>
        </pc:sldMkLst>
        <pc:picChg chg="del">
          <ac:chgData name="Robles, Daniel" userId="S::darobles@deloitte.com::fbcefa1a-afe9-41c1-8f2c-c18cf39f3320" providerId="AD" clId="Web-{6F24313F-5360-4F1C-8229-A5E89D6CCD7E}" dt="2022-08-17T22:41:14.416" v="0"/>
          <ac:picMkLst>
            <pc:docMk/>
            <pc:sldMk cId="870859583" sldId="453"/>
            <ac:picMk id="3" creationId="{EC9F6F3A-34D9-C9F3-9160-33EEB732263B}"/>
          </ac:picMkLst>
        </pc:picChg>
        <pc:picChg chg="del">
          <ac:chgData name="Robles, Daniel" userId="S::darobles@deloitte.com::fbcefa1a-afe9-41c1-8f2c-c18cf39f3320" providerId="AD" clId="Web-{6F24313F-5360-4F1C-8229-A5E89D6CCD7E}" dt="2022-08-17T22:41:14.916" v="1"/>
          <ac:picMkLst>
            <pc:docMk/>
            <pc:sldMk cId="870859583" sldId="453"/>
            <ac:picMk id="4" creationId="{0B82BEE0-8024-69A1-37B7-966CF3907717}"/>
          </ac:picMkLst>
        </pc:picChg>
        <pc:picChg chg="del">
          <ac:chgData name="Robles, Daniel" userId="S::darobles@deloitte.com::fbcefa1a-afe9-41c1-8f2c-c18cf39f3320" providerId="AD" clId="Web-{6F24313F-5360-4F1C-8229-A5E89D6CCD7E}" dt="2022-08-17T22:41:15.759" v="2"/>
          <ac:picMkLst>
            <pc:docMk/>
            <pc:sldMk cId="870859583" sldId="453"/>
            <ac:picMk id="5" creationId="{E565D2D9-E6D9-0BF4-85F1-D9701FB554D7}"/>
          </ac:picMkLst>
        </pc:picChg>
        <pc:picChg chg="del">
          <ac:chgData name="Robles, Daniel" userId="S::darobles@deloitte.com::fbcefa1a-afe9-41c1-8f2c-c18cf39f3320" providerId="AD" clId="Web-{6F24313F-5360-4F1C-8229-A5E89D6CCD7E}" dt="2022-08-17T22:41:16.447" v="3"/>
          <ac:picMkLst>
            <pc:docMk/>
            <pc:sldMk cId="870859583" sldId="453"/>
            <ac:picMk id="6" creationId="{11CB7161-78C4-1D17-3A6A-05D625C2A50D}"/>
          </ac:picMkLst>
        </pc:picChg>
      </pc:sldChg>
    </pc:docChg>
  </pc:docChgLst>
  <pc:docChgLst>
    <pc:chgData name="Robles, Daniel" userId="S::darobles@deloitte.com::fbcefa1a-afe9-41c1-8f2c-c18cf39f3320" providerId="AD" clId="Web-{52518EEF-37EC-4D0D-BB4A-BBFCDFDFAB33}"/>
    <pc:docChg chg="addSld delSld modSld">
      <pc:chgData name="Robles, Daniel" userId="S::darobles@deloitte.com::fbcefa1a-afe9-41c1-8f2c-c18cf39f3320" providerId="AD" clId="Web-{52518EEF-37EC-4D0D-BB4A-BBFCDFDFAB33}" dt="2022-08-18T17:56:46.916" v="10"/>
      <pc:docMkLst>
        <pc:docMk/>
      </pc:docMkLst>
      <pc:sldChg chg="addSp delSp modSp">
        <pc:chgData name="Robles, Daniel" userId="S::darobles@deloitte.com::fbcefa1a-afe9-41c1-8f2c-c18cf39f3320" providerId="AD" clId="Web-{52518EEF-37EC-4D0D-BB4A-BBFCDFDFAB33}" dt="2022-08-18T17:56:46.916" v="10"/>
        <pc:sldMkLst>
          <pc:docMk/>
          <pc:sldMk cId="1485223179" sldId="436"/>
        </pc:sldMkLst>
        <pc:spChg chg="mod">
          <ac:chgData name="Robles, Daniel" userId="S::darobles@deloitte.com::fbcefa1a-afe9-41c1-8f2c-c18cf39f3320" providerId="AD" clId="Web-{52518EEF-37EC-4D0D-BB4A-BBFCDFDFAB33}" dt="2022-08-18T17:55:16.178" v="1" actId="20577"/>
          <ac:spMkLst>
            <pc:docMk/>
            <pc:sldMk cId="1485223179" sldId="436"/>
            <ac:spMk id="2" creationId="{1A53A8AD-38C0-4854-81B3-9B99B4E007ED}"/>
          </ac:spMkLst>
        </pc:spChg>
        <pc:picChg chg="add del mod">
          <ac:chgData name="Robles, Daniel" userId="S::darobles@deloitte.com::fbcefa1a-afe9-41c1-8f2c-c18cf39f3320" providerId="AD" clId="Web-{52518EEF-37EC-4D0D-BB4A-BBFCDFDFAB33}" dt="2022-08-18T17:56:46.916" v="10"/>
          <ac:picMkLst>
            <pc:docMk/>
            <pc:sldMk cId="1485223179" sldId="436"/>
            <ac:picMk id="3" creationId="{7DAF7707-D099-3A24-8B5A-5263EC12A297}"/>
          </ac:picMkLst>
        </pc:picChg>
      </pc:sldChg>
      <pc:sldChg chg="addSp delSp modSp new">
        <pc:chgData name="Robles, Daniel" userId="S::darobles@deloitte.com::fbcefa1a-afe9-41c1-8f2c-c18cf39f3320" providerId="AD" clId="Web-{52518EEF-37EC-4D0D-BB4A-BBFCDFDFAB33}" dt="2022-08-18T17:56:25.462" v="8"/>
        <pc:sldMkLst>
          <pc:docMk/>
          <pc:sldMk cId="3605303726" sldId="673"/>
        </pc:sldMkLst>
        <pc:spChg chg="del">
          <ac:chgData name="Robles, Daniel" userId="S::darobles@deloitte.com::fbcefa1a-afe9-41c1-8f2c-c18cf39f3320" providerId="AD" clId="Web-{52518EEF-37EC-4D0D-BB4A-BBFCDFDFAB33}" dt="2022-08-18T17:56:12.227" v="5"/>
          <ac:spMkLst>
            <pc:docMk/>
            <pc:sldMk cId="3605303726" sldId="673"/>
            <ac:spMk id="2" creationId="{682A7FFF-2079-1284-AC43-E294B7BE5893}"/>
          </ac:spMkLst>
        </pc:spChg>
        <pc:spChg chg="del">
          <ac:chgData name="Robles, Daniel" userId="S::darobles@deloitte.com::fbcefa1a-afe9-41c1-8f2c-c18cf39f3320" providerId="AD" clId="Web-{52518EEF-37EC-4D0D-BB4A-BBFCDFDFAB33}" dt="2022-08-18T17:56:23.806" v="7"/>
          <ac:spMkLst>
            <pc:docMk/>
            <pc:sldMk cId="3605303726" sldId="673"/>
            <ac:spMk id="3" creationId="{F4F545A8-658B-019E-48FA-1D3CD49B0DBB}"/>
          </ac:spMkLst>
        </pc:spChg>
        <pc:spChg chg="add mod">
          <ac:chgData name="Robles, Daniel" userId="S::darobles@deloitte.com::fbcefa1a-afe9-41c1-8f2c-c18cf39f3320" providerId="AD" clId="Web-{52518EEF-37EC-4D0D-BB4A-BBFCDFDFAB33}" dt="2022-08-18T17:56:18.977" v="6"/>
          <ac:spMkLst>
            <pc:docMk/>
            <pc:sldMk cId="3605303726" sldId="673"/>
            <ac:spMk id="14" creationId="{77ED8376-ED86-3B13-DA6B-A304CEAB92E2}"/>
          </ac:spMkLst>
        </pc:spChg>
        <pc:spChg chg="add mod">
          <ac:chgData name="Robles, Daniel" userId="S::darobles@deloitte.com::fbcefa1a-afe9-41c1-8f2c-c18cf39f3320" providerId="AD" clId="Web-{52518EEF-37EC-4D0D-BB4A-BBFCDFDFAB33}" dt="2022-08-18T17:56:25.462" v="8"/>
          <ac:spMkLst>
            <pc:docMk/>
            <pc:sldMk cId="3605303726" sldId="673"/>
            <ac:spMk id="17" creationId="{2DC95ACC-460D-6A7F-3496-502C538ED6E9}"/>
          </ac:spMkLst>
        </pc:spChg>
        <pc:picChg chg="add del mod ord modCrop">
          <ac:chgData name="Robles, Daniel" userId="S::darobles@deloitte.com::fbcefa1a-afe9-41c1-8f2c-c18cf39f3320" providerId="AD" clId="Web-{52518EEF-37EC-4D0D-BB4A-BBFCDFDFAB33}" dt="2022-08-18T17:56:18.977" v="6"/>
          <ac:picMkLst>
            <pc:docMk/>
            <pc:sldMk cId="3605303726" sldId="673"/>
            <ac:picMk id="12" creationId="{224FE409-A236-2CBC-782C-3E2263A278FC}"/>
          </ac:picMkLst>
        </pc:picChg>
        <pc:picChg chg="add del mod ord modCrop">
          <ac:chgData name="Robles, Daniel" userId="S::darobles@deloitte.com::fbcefa1a-afe9-41c1-8f2c-c18cf39f3320" providerId="AD" clId="Web-{52518EEF-37EC-4D0D-BB4A-BBFCDFDFAB33}" dt="2022-08-18T17:56:25.462" v="8"/>
          <ac:picMkLst>
            <pc:docMk/>
            <pc:sldMk cId="3605303726" sldId="673"/>
            <ac:picMk id="15" creationId="{19EF0781-8AE6-B591-AE80-65114F18730D}"/>
          </ac:picMkLst>
        </pc:picChg>
      </pc:sldChg>
      <pc:sldChg chg="new del">
        <pc:chgData name="Robles, Daniel" userId="S::darobles@deloitte.com::fbcefa1a-afe9-41c1-8f2c-c18cf39f3320" providerId="AD" clId="Web-{52518EEF-37EC-4D0D-BB4A-BBFCDFDFAB33}" dt="2022-08-18T17:55:43.882" v="4"/>
        <pc:sldMkLst>
          <pc:docMk/>
          <pc:sldMk cId="2620552920" sldId="674"/>
        </pc:sldMkLst>
      </pc:sldChg>
    </pc:docChg>
  </pc:docChgLst>
  <pc:docChgLst>
    <pc:chgData name="Robles, Daniel" userId="S::darobles@deloitte.com::fbcefa1a-afe9-41c1-8f2c-c18cf39f3320" providerId="AD" clId="Web-{C792A897-2824-4261-A14B-2B4E708F83DE}"/>
    <pc:docChg chg="addSld modSld sldOrd">
      <pc:chgData name="Robles, Daniel" userId="S::darobles@deloitte.com::fbcefa1a-afe9-41c1-8f2c-c18cf39f3320" providerId="AD" clId="Web-{C792A897-2824-4261-A14B-2B4E708F83DE}" dt="2022-08-18T15:28:54.633" v="45" actId="20577"/>
      <pc:docMkLst>
        <pc:docMk/>
      </pc:docMkLst>
      <pc:sldChg chg="ord">
        <pc:chgData name="Robles, Daniel" userId="S::darobles@deloitte.com::fbcefa1a-afe9-41c1-8f2c-c18cf39f3320" providerId="AD" clId="Web-{C792A897-2824-4261-A14B-2B4E708F83DE}" dt="2022-08-18T15:19:36.704" v="1"/>
        <pc:sldMkLst>
          <pc:docMk/>
          <pc:sldMk cId="870859583" sldId="453"/>
        </pc:sldMkLst>
      </pc:sldChg>
      <pc:sldChg chg="addSp delSp modSp add">
        <pc:chgData name="Robles, Daniel" userId="S::darobles@deloitte.com::fbcefa1a-afe9-41c1-8f2c-c18cf39f3320" providerId="AD" clId="Web-{C792A897-2824-4261-A14B-2B4E708F83DE}" dt="2022-08-18T15:28:54.633" v="45" actId="20577"/>
        <pc:sldMkLst>
          <pc:docMk/>
          <pc:sldMk cId="1073662527" sldId="461"/>
        </pc:sldMkLst>
        <pc:spChg chg="del mod">
          <ac:chgData name="Robles, Daniel" userId="S::darobles@deloitte.com::fbcefa1a-afe9-41c1-8f2c-c18cf39f3320" providerId="AD" clId="Web-{C792A897-2824-4261-A14B-2B4E708F83DE}" dt="2022-08-18T15:21:17.442" v="4"/>
          <ac:spMkLst>
            <pc:docMk/>
            <pc:sldMk cId="1073662527" sldId="461"/>
            <ac:spMk id="2" creationId="{00000000-0000-0000-0000-000000000000}"/>
          </ac:spMkLst>
        </pc:spChg>
        <pc:spChg chg="add del mod">
          <ac:chgData name="Robles, Daniel" userId="S::darobles@deloitte.com::fbcefa1a-afe9-41c1-8f2c-c18cf39f3320" providerId="AD" clId="Web-{C792A897-2824-4261-A14B-2B4E708F83DE}" dt="2022-08-18T15:28:23.163" v="32"/>
          <ac:spMkLst>
            <pc:docMk/>
            <pc:sldMk cId="1073662527" sldId="461"/>
            <ac:spMk id="4" creationId="{49CA6986-0864-BFB4-467C-426642E59003}"/>
          </ac:spMkLst>
        </pc:spChg>
        <pc:spChg chg="add mod">
          <ac:chgData name="Robles, Daniel" userId="S::darobles@deloitte.com::fbcefa1a-afe9-41c1-8f2c-c18cf39f3320" providerId="AD" clId="Web-{C792A897-2824-4261-A14B-2B4E708F83DE}" dt="2022-08-18T15:28:54.633" v="45" actId="20577"/>
          <ac:spMkLst>
            <pc:docMk/>
            <pc:sldMk cId="1073662527" sldId="461"/>
            <ac:spMk id="7" creationId="{B9037E84-9636-1A87-A1F9-B0A01C2C8901}"/>
          </ac:spMkLst>
        </pc:spChg>
        <pc:spChg chg="del mod">
          <ac:chgData name="Robles, Daniel" userId="S::darobles@deloitte.com::fbcefa1a-afe9-41c1-8f2c-c18cf39f3320" providerId="AD" clId="Web-{C792A897-2824-4261-A14B-2B4E708F83DE}" dt="2022-08-18T15:28:18.522" v="29"/>
          <ac:spMkLst>
            <pc:docMk/>
            <pc:sldMk cId="1073662527" sldId="461"/>
            <ac:spMk id="9" creationId="{00000000-0000-0000-0000-000000000000}"/>
          </ac:spMkLst>
        </pc:spChg>
        <pc:picChg chg="add del mod">
          <ac:chgData name="Robles, Daniel" userId="S::darobles@deloitte.com::fbcefa1a-afe9-41c1-8f2c-c18cf39f3320" providerId="AD" clId="Web-{C792A897-2824-4261-A14B-2B4E708F83DE}" dt="2022-08-18T15:28:28.695" v="34"/>
          <ac:picMkLst>
            <pc:docMk/>
            <pc:sldMk cId="1073662527" sldId="461"/>
            <ac:picMk id="5" creationId="{F9C9B52E-ED53-7CA8-77AB-B6FC6238818E}"/>
          </ac:picMkLst>
        </pc:picChg>
        <pc:picChg chg="add del mod">
          <ac:chgData name="Robles, Daniel" userId="S::darobles@deloitte.com::fbcefa1a-afe9-41c1-8f2c-c18cf39f3320" providerId="AD" clId="Web-{C792A897-2824-4261-A14B-2B4E708F83DE}" dt="2022-08-18T15:28:41.851" v="40"/>
          <ac:picMkLst>
            <pc:docMk/>
            <pc:sldMk cId="1073662527" sldId="461"/>
            <ac:picMk id="6" creationId="{EAF48F11-BED6-C66D-1252-D5E41DB8DCD6}"/>
          </ac:picMkLst>
        </pc:picChg>
      </pc:sldChg>
    </pc:docChg>
  </pc:docChgLst>
  <pc:docChgLst>
    <pc:chgData name="Gupta, Maanik" userId="S::maagupta@deloitte.com::df80c2e9-1ba8-47de-bdfe-c5555afca713" providerId="AD" clId="Web-{8F87F579-ECA6-447A-B963-A2164290879B}"/>
    <pc:docChg chg="addSld modSld">
      <pc:chgData name="Gupta, Maanik" userId="S::maagupta@deloitte.com::df80c2e9-1ba8-47de-bdfe-c5555afca713" providerId="AD" clId="Web-{8F87F579-ECA6-447A-B963-A2164290879B}" dt="2022-08-18T19:23:01.474" v="466" actId="20577"/>
      <pc:docMkLst>
        <pc:docMk/>
      </pc:docMkLst>
      <pc:sldChg chg="modSp">
        <pc:chgData name="Gupta, Maanik" userId="S::maagupta@deloitte.com::df80c2e9-1ba8-47de-bdfe-c5555afca713" providerId="AD" clId="Web-{8F87F579-ECA6-447A-B963-A2164290879B}" dt="2022-08-18T19:17:41.153" v="107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8F87F579-ECA6-447A-B963-A2164290879B}" dt="2022-08-18T19:17:41.153" v="107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">
        <pc:chgData name="Gupta, Maanik" userId="S::maagupta@deloitte.com::df80c2e9-1ba8-47de-bdfe-c5555afca713" providerId="AD" clId="Web-{8F87F579-ECA6-447A-B963-A2164290879B}" dt="2022-08-18T19:17:17.527" v="47" actId="20577"/>
        <pc:sldMkLst>
          <pc:docMk/>
          <pc:sldMk cId="2745247743" sldId="462"/>
        </pc:sldMkLst>
        <pc:spChg chg="mod">
          <ac:chgData name="Gupta, Maanik" userId="S::maagupta@deloitte.com::df80c2e9-1ba8-47de-bdfe-c5555afca713" providerId="AD" clId="Web-{8F87F579-ECA6-447A-B963-A2164290879B}" dt="2022-08-18T19:17:17.527" v="47" actId="20577"/>
          <ac:spMkLst>
            <pc:docMk/>
            <pc:sldMk cId="2745247743" sldId="462"/>
            <ac:spMk id="6775" creationId="{558C9E33-55A2-7333-CA30-E8A181F742DE}"/>
          </ac:spMkLst>
        </pc:spChg>
      </pc:sldChg>
      <pc:sldChg chg="modSp">
        <pc:chgData name="Gupta, Maanik" userId="S::maagupta@deloitte.com::df80c2e9-1ba8-47de-bdfe-c5555afca713" providerId="AD" clId="Web-{8F87F579-ECA6-447A-B963-A2164290879B}" dt="2022-08-18T19:23:01.474" v="466" actId="20577"/>
        <pc:sldMkLst>
          <pc:docMk/>
          <pc:sldMk cId="4141369604" sldId="675"/>
        </pc:sldMkLst>
        <pc:spChg chg="mod">
          <ac:chgData name="Gupta, Maanik" userId="S::maagupta@deloitte.com::df80c2e9-1ba8-47de-bdfe-c5555afca713" providerId="AD" clId="Web-{8F87F579-ECA6-447A-B963-A2164290879B}" dt="2022-08-18T19:23:01.474" v="466" actId="20577"/>
          <ac:spMkLst>
            <pc:docMk/>
            <pc:sldMk cId="4141369604" sldId="675"/>
            <ac:spMk id="5" creationId="{C2B756BC-73D1-43E2-6FB6-EE9424529B9B}"/>
          </ac:spMkLst>
        </pc:spChg>
      </pc:sldChg>
      <pc:sldChg chg="modSp add replId">
        <pc:chgData name="Gupta, Maanik" userId="S::maagupta@deloitte.com::df80c2e9-1ba8-47de-bdfe-c5555afca713" providerId="AD" clId="Web-{8F87F579-ECA6-447A-B963-A2164290879B}" dt="2022-08-18T19:22:48.067" v="457" actId="20577"/>
        <pc:sldMkLst>
          <pc:docMk/>
          <pc:sldMk cId="1642837546" sldId="685"/>
        </pc:sldMkLst>
        <pc:spChg chg="mod">
          <ac:chgData name="Gupta, Maanik" userId="S::maagupta@deloitte.com::df80c2e9-1ba8-47de-bdfe-c5555afca713" providerId="AD" clId="Web-{8F87F579-ECA6-447A-B963-A2164290879B}" dt="2022-08-18T19:22:48.067" v="457" actId="20577"/>
          <ac:spMkLst>
            <pc:docMk/>
            <pc:sldMk cId="1642837546" sldId="685"/>
            <ac:spMk id="5" creationId="{C2B756BC-73D1-43E2-6FB6-EE9424529B9B}"/>
          </ac:spMkLst>
        </pc:spChg>
      </pc:sldChg>
    </pc:docChg>
  </pc:docChgLst>
  <pc:docChgLst>
    <pc:chgData name="Gupta, Maanik" userId="S::maagupta@deloitte.com::df80c2e9-1ba8-47de-bdfe-c5555afca713" providerId="AD" clId="Web-{10B47222-1B9F-4112-AA8E-AEED09E8AC45}"/>
    <pc:docChg chg="modSld">
      <pc:chgData name="Gupta, Maanik" userId="S::maagupta@deloitte.com::df80c2e9-1ba8-47de-bdfe-c5555afca713" providerId="AD" clId="Web-{10B47222-1B9F-4112-AA8E-AEED09E8AC45}" dt="2022-08-18T17:25:47.110" v="91" actId="20577"/>
      <pc:docMkLst>
        <pc:docMk/>
      </pc:docMkLst>
      <pc:sldChg chg="modSp">
        <pc:chgData name="Gupta, Maanik" userId="S::maagupta@deloitte.com::df80c2e9-1ba8-47de-bdfe-c5555afca713" providerId="AD" clId="Web-{10B47222-1B9F-4112-AA8E-AEED09E8AC45}" dt="2022-08-18T17:25:47.110" v="91" actId="20577"/>
        <pc:sldMkLst>
          <pc:docMk/>
          <pc:sldMk cId="47003559" sldId="672"/>
        </pc:sldMkLst>
        <pc:spChg chg="mod">
          <ac:chgData name="Gupta, Maanik" userId="S::maagupta@deloitte.com::df80c2e9-1ba8-47de-bdfe-c5555afca713" providerId="AD" clId="Web-{10B47222-1B9F-4112-AA8E-AEED09E8AC45}" dt="2022-08-18T17:25:33.766" v="68" actId="20577"/>
          <ac:spMkLst>
            <pc:docMk/>
            <pc:sldMk cId="47003559" sldId="672"/>
            <ac:spMk id="66" creationId="{EBD0018F-F518-4C94-B08E-6D617F82B93A}"/>
          </ac:spMkLst>
        </pc:spChg>
        <pc:spChg chg="mod">
          <ac:chgData name="Gupta, Maanik" userId="S::maagupta@deloitte.com::df80c2e9-1ba8-47de-bdfe-c5555afca713" providerId="AD" clId="Web-{10B47222-1B9F-4112-AA8E-AEED09E8AC45}" dt="2022-08-18T17:25:47.110" v="91" actId="20577"/>
          <ac:spMkLst>
            <pc:docMk/>
            <pc:sldMk cId="47003559" sldId="672"/>
            <ac:spMk id="73" creationId="{50C42B8C-7B2A-4510-8D4A-D7D635822455}"/>
          </ac:spMkLst>
        </pc:spChg>
      </pc:sldChg>
    </pc:docChg>
  </pc:docChgLst>
  <pc:docChgLst>
    <pc:chgData name="Golden, Robert" userId="S::rogolden@deloitte.com::e29a84d5-4bdc-4cc8-8c2a-8f188b4d0479" providerId="AD" clId="Web-{83B68661-08BD-498F-8443-864AEAB895DA}"/>
    <pc:docChg chg="modSld">
      <pc:chgData name="Golden, Robert" userId="S::rogolden@deloitte.com::e29a84d5-4bdc-4cc8-8c2a-8f188b4d0479" providerId="AD" clId="Web-{83B68661-08BD-498F-8443-864AEAB895DA}" dt="2022-08-19T14:09:53.200" v="28" actId="20577"/>
      <pc:docMkLst>
        <pc:docMk/>
      </pc:docMkLst>
      <pc:sldChg chg="addSp delSp modSp">
        <pc:chgData name="Golden, Robert" userId="S::rogolden@deloitte.com::e29a84d5-4bdc-4cc8-8c2a-8f188b4d0479" providerId="AD" clId="Web-{83B68661-08BD-498F-8443-864AEAB895DA}" dt="2022-08-19T14:09:53.200" v="28" actId="20577"/>
        <pc:sldMkLst>
          <pc:docMk/>
          <pc:sldMk cId="3876084295" sldId="677"/>
        </pc:sldMkLst>
        <pc:spChg chg="mod">
          <ac:chgData name="Golden, Robert" userId="S::rogolden@deloitte.com::e29a84d5-4bdc-4cc8-8c2a-8f188b4d0479" providerId="AD" clId="Web-{83B68661-08BD-498F-8443-864AEAB895DA}" dt="2022-08-19T14:09:53.200" v="28" actId="20577"/>
          <ac:spMkLst>
            <pc:docMk/>
            <pc:sldMk cId="3876084295" sldId="677"/>
            <ac:spMk id="5" creationId="{00000000-0000-0000-0000-000000000000}"/>
          </ac:spMkLst>
        </pc:spChg>
        <pc:spChg chg="add mod">
          <ac:chgData name="Golden, Robert" userId="S::rogolden@deloitte.com::e29a84d5-4bdc-4cc8-8c2a-8f188b4d0479" providerId="AD" clId="Web-{83B68661-08BD-498F-8443-864AEAB895DA}" dt="2022-08-19T13:57:42.305" v="18" actId="1076"/>
          <ac:spMkLst>
            <pc:docMk/>
            <pc:sldMk cId="3876084295" sldId="677"/>
            <ac:spMk id="14" creationId="{F19902E7-8DE1-8448-BD5E-A5A05FBC9ADB}"/>
          </ac:spMkLst>
        </pc:spChg>
        <pc:picChg chg="add del mod">
          <ac:chgData name="Golden, Robert" userId="S::rogolden@deloitte.com::e29a84d5-4bdc-4cc8-8c2a-8f188b4d0479" providerId="AD" clId="Web-{83B68661-08BD-498F-8443-864AEAB895DA}" dt="2022-08-19T13:54:50.128" v="6"/>
          <ac:picMkLst>
            <pc:docMk/>
            <pc:sldMk cId="3876084295" sldId="677"/>
            <ac:picMk id="7" creationId="{08196950-3471-80DA-34F2-576E7B02D42E}"/>
          </ac:picMkLst>
        </pc:picChg>
        <pc:picChg chg="del">
          <ac:chgData name="Golden, Robert" userId="S::rogolden@deloitte.com::e29a84d5-4bdc-4cc8-8c2a-8f188b4d0479" providerId="AD" clId="Web-{83B68661-08BD-498F-8443-864AEAB895DA}" dt="2022-08-19T13:54:06.487" v="0"/>
          <ac:picMkLst>
            <pc:docMk/>
            <pc:sldMk cId="3876084295" sldId="677"/>
            <ac:picMk id="8" creationId="{B0D375E8-1F3E-4C05-A81C-D37E339FC77D}"/>
          </ac:picMkLst>
        </pc:picChg>
        <pc:picChg chg="add mod">
          <ac:chgData name="Golden, Robert" userId="S::rogolden@deloitte.com::e29a84d5-4bdc-4cc8-8c2a-8f188b4d0479" providerId="AD" clId="Web-{83B68661-08BD-498F-8443-864AEAB895DA}" dt="2022-08-19T13:55:43.083" v="10" actId="1076"/>
          <ac:picMkLst>
            <pc:docMk/>
            <pc:sldMk cId="3876084295" sldId="677"/>
            <ac:picMk id="13" creationId="{E8E0CC6C-564D-3F8C-87DC-28899B40FC45}"/>
          </ac:picMkLst>
        </pc:picChg>
      </pc:sldChg>
    </pc:docChg>
  </pc:docChgLst>
  <pc:docChgLst>
    <pc:chgData name="Gupta, Maanik" userId="S::maagupta@deloitte.com::df80c2e9-1ba8-47de-bdfe-c5555afca713" providerId="AD" clId="Web-{7BD1A86C-BA3E-4F1E-AC50-8D974C4CFA55}"/>
    <pc:docChg chg="modSld">
      <pc:chgData name="Gupta, Maanik" userId="S::maagupta@deloitte.com::df80c2e9-1ba8-47de-bdfe-c5555afca713" providerId="AD" clId="Web-{7BD1A86C-BA3E-4F1E-AC50-8D974C4CFA55}" dt="2022-08-19T17:39:33.363" v="0" actId="20577"/>
      <pc:docMkLst>
        <pc:docMk/>
      </pc:docMkLst>
      <pc:sldChg chg="modSp">
        <pc:chgData name="Gupta, Maanik" userId="S::maagupta@deloitte.com::df80c2e9-1ba8-47de-bdfe-c5555afca713" providerId="AD" clId="Web-{7BD1A86C-BA3E-4F1E-AC50-8D974C4CFA55}" dt="2022-08-19T17:39:33.363" v="0" actId="20577"/>
        <pc:sldMkLst>
          <pc:docMk/>
          <pc:sldMk cId="922478694" sldId="609"/>
        </pc:sldMkLst>
        <pc:spChg chg="mod">
          <ac:chgData name="Gupta, Maanik" userId="S::maagupta@deloitte.com::df80c2e9-1ba8-47de-bdfe-c5555afca713" providerId="AD" clId="Web-{7BD1A86C-BA3E-4F1E-AC50-8D974C4CFA55}" dt="2022-08-19T17:39:33.363" v="0" actId="20577"/>
          <ac:spMkLst>
            <pc:docMk/>
            <pc:sldMk cId="922478694" sldId="609"/>
            <ac:spMk id="17" creationId="{15BBC507-4FAF-4798-A48B-C2CFF51217E9}"/>
          </ac:spMkLst>
        </pc:spChg>
      </pc:sldChg>
    </pc:docChg>
  </pc:docChgLst>
  <pc:docChgLst>
    <pc:chgData name="Golden, Robert" userId="S::rogolden@deloitte.com::e29a84d5-4bdc-4cc8-8c2a-8f188b4d0479" providerId="AD" clId="Web-{5CF347AF-C280-4F41-80E4-73689A8D40B8}"/>
    <pc:docChg chg="modSld">
      <pc:chgData name="Golden, Robert" userId="S::rogolden@deloitte.com::e29a84d5-4bdc-4cc8-8c2a-8f188b4d0479" providerId="AD" clId="Web-{5CF347AF-C280-4F41-80E4-73689A8D40B8}" dt="2022-08-17T19:12:36.371" v="490" actId="20577"/>
      <pc:docMkLst>
        <pc:docMk/>
      </pc:docMkLst>
      <pc:sldChg chg="modSp">
        <pc:chgData name="Golden, Robert" userId="S::rogolden@deloitte.com::e29a84d5-4bdc-4cc8-8c2a-8f188b4d0479" providerId="AD" clId="Web-{5CF347AF-C280-4F41-80E4-73689A8D40B8}" dt="2022-08-17T19:12:36.371" v="490" actId="20577"/>
        <pc:sldMkLst>
          <pc:docMk/>
          <pc:sldMk cId="2552575641" sldId="344"/>
        </pc:sldMkLst>
        <pc:spChg chg="mod">
          <ac:chgData name="Golden, Robert" userId="S::rogolden@deloitte.com::e29a84d5-4bdc-4cc8-8c2a-8f188b4d0479" providerId="AD" clId="Web-{5CF347AF-C280-4F41-80E4-73689A8D40B8}" dt="2022-08-17T19:05:22.578" v="18" actId="20577"/>
          <ac:spMkLst>
            <pc:docMk/>
            <pc:sldMk cId="2552575641" sldId="344"/>
            <ac:spMk id="3" creationId="{00000000-0000-0000-0000-000000000000}"/>
          </ac:spMkLst>
        </pc:spChg>
        <pc:spChg chg="mod">
          <ac:chgData name="Golden, Robert" userId="S::rogolden@deloitte.com::e29a84d5-4bdc-4cc8-8c2a-8f188b4d0479" providerId="AD" clId="Web-{5CF347AF-C280-4F41-80E4-73689A8D40B8}" dt="2022-08-17T19:12:36.371" v="490" actId="20577"/>
          <ac:spMkLst>
            <pc:docMk/>
            <pc:sldMk cId="2552575641" sldId="344"/>
            <ac:spMk id="5" creationId="{00000000-0000-0000-0000-000000000000}"/>
          </ac:spMkLst>
        </pc:spChg>
        <pc:spChg chg="mod">
          <ac:chgData name="Golden, Robert" userId="S::rogolden@deloitte.com::e29a84d5-4bdc-4cc8-8c2a-8f188b4d0479" providerId="AD" clId="Web-{5CF347AF-C280-4F41-80E4-73689A8D40B8}" dt="2022-08-17T19:08:00.535" v="120" actId="20577"/>
          <ac:spMkLst>
            <pc:docMk/>
            <pc:sldMk cId="2552575641" sldId="344"/>
            <ac:spMk id="6" creationId="{00000000-0000-0000-0000-000000000000}"/>
          </ac:spMkLst>
        </pc:spChg>
      </pc:sldChg>
    </pc:docChg>
  </pc:docChgLst>
  <pc:docChgLst>
    <pc:chgData name="Gupta, Maanik" userId="S::maagupta@deloitte.com::df80c2e9-1ba8-47de-bdfe-c5555afca713" providerId="AD" clId="Web-{A9F7BBEC-8722-4B43-9449-D2D65A216F87}"/>
    <pc:docChg chg="modSld">
      <pc:chgData name="Gupta, Maanik" userId="S::maagupta@deloitte.com::df80c2e9-1ba8-47de-bdfe-c5555afca713" providerId="AD" clId="Web-{A9F7BBEC-8722-4B43-9449-D2D65A216F87}" dt="2022-08-19T17:23:10.287" v="18" actId="20577"/>
      <pc:docMkLst>
        <pc:docMk/>
      </pc:docMkLst>
      <pc:sldChg chg="modSp">
        <pc:chgData name="Gupta, Maanik" userId="S::maagupta@deloitte.com::df80c2e9-1ba8-47de-bdfe-c5555afca713" providerId="AD" clId="Web-{A9F7BBEC-8722-4B43-9449-D2D65A216F87}" dt="2022-08-19T17:23:10.287" v="18" actId="20577"/>
        <pc:sldMkLst>
          <pc:docMk/>
          <pc:sldMk cId="3470529705" sldId="682"/>
        </pc:sldMkLst>
        <pc:spChg chg="mod">
          <ac:chgData name="Gupta, Maanik" userId="S::maagupta@deloitte.com::df80c2e9-1ba8-47de-bdfe-c5555afca713" providerId="AD" clId="Web-{A9F7BBEC-8722-4B43-9449-D2D65A216F87}" dt="2022-08-19T17:23:10.287" v="18" actId="20577"/>
          <ac:spMkLst>
            <pc:docMk/>
            <pc:sldMk cId="3470529705" sldId="682"/>
            <ac:spMk id="17" creationId="{7C4C072D-159D-BCD5-C6E1-1EC6720781D3}"/>
          </ac:spMkLst>
        </pc:spChg>
      </pc:sldChg>
    </pc:docChg>
  </pc:docChgLst>
  <pc:docChgLst>
    <pc:chgData name="Gupta, Maanik" userId="S::maagupta@deloitte.com::df80c2e9-1ba8-47de-bdfe-c5555afca713" providerId="AD" clId="Web-{D34B04E0-3F09-4E48-B970-B175E19E7B91}"/>
    <pc:docChg chg="modSld">
      <pc:chgData name="Gupta, Maanik" userId="S::maagupta@deloitte.com::df80c2e9-1ba8-47de-bdfe-c5555afca713" providerId="AD" clId="Web-{D34B04E0-3F09-4E48-B970-B175E19E7B91}" dt="2022-08-18T13:23:01.620" v="55" actId="20577"/>
      <pc:docMkLst>
        <pc:docMk/>
      </pc:docMkLst>
      <pc:sldChg chg="modSp">
        <pc:chgData name="Gupta, Maanik" userId="S::maagupta@deloitte.com::df80c2e9-1ba8-47de-bdfe-c5555afca713" providerId="AD" clId="Web-{D34B04E0-3F09-4E48-B970-B175E19E7B91}" dt="2022-08-18T13:23:01.620" v="55" actId="20577"/>
        <pc:sldMkLst>
          <pc:docMk/>
          <pc:sldMk cId="3619711413" sldId="452"/>
        </pc:sldMkLst>
        <pc:spChg chg="mod">
          <ac:chgData name="Gupta, Maanik" userId="S::maagupta@deloitte.com::df80c2e9-1ba8-47de-bdfe-c5555afca713" providerId="AD" clId="Web-{D34B04E0-3F09-4E48-B970-B175E19E7B91}" dt="2022-08-18T13:23:01.620" v="55" actId="20577"/>
          <ac:spMkLst>
            <pc:docMk/>
            <pc:sldMk cId="3619711413" sldId="452"/>
            <ac:spMk id="2" creationId="{B8035859-814E-F5F7-F9EF-AB55CD884CEE}"/>
          </ac:spMkLst>
        </pc:spChg>
        <pc:spChg chg="mod">
          <ac:chgData name="Gupta, Maanik" userId="S::maagupta@deloitte.com::df80c2e9-1ba8-47de-bdfe-c5555afca713" providerId="AD" clId="Web-{D34B04E0-3F09-4E48-B970-B175E19E7B91}" dt="2022-08-18T13:22:32.073" v="23" actId="20577"/>
          <ac:spMkLst>
            <pc:docMk/>
            <pc:sldMk cId="3619711413" sldId="452"/>
            <ac:spMk id="5" creationId="{139D7704-6031-3EF0-D2DC-25A108321A72}"/>
          </ac:spMkLst>
        </pc:spChg>
      </pc:sldChg>
    </pc:docChg>
  </pc:docChgLst>
  <pc:docChgLst>
    <pc:chgData name="Gupta, Maanik" userId="S::maagupta@deloitte.com::df80c2e9-1ba8-47de-bdfe-c5555afca713" providerId="AD" clId="Web-{67349A41-4711-4AF2-A039-3A43B09BD87A}"/>
    <pc:docChg chg="modSld">
      <pc:chgData name="Gupta, Maanik" userId="S::maagupta@deloitte.com::df80c2e9-1ba8-47de-bdfe-c5555afca713" providerId="AD" clId="Web-{67349A41-4711-4AF2-A039-3A43B09BD87A}" dt="2022-08-18T17:51:21.444" v="130" actId="20577"/>
      <pc:docMkLst>
        <pc:docMk/>
      </pc:docMkLst>
      <pc:sldChg chg="modSp">
        <pc:chgData name="Gupta, Maanik" userId="S::maagupta@deloitte.com::df80c2e9-1ba8-47de-bdfe-c5555afca713" providerId="AD" clId="Web-{67349A41-4711-4AF2-A039-3A43B09BD87A}" dt="2022-08-18T17:51:21.444" v="130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67349A41-4711-4AF2-A039-3A43B09BD87A}" dt="2022-08-18T17:51:21.444" v="130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">
        <pc:chgData name="Gupta, Maanik" userId="S::maagupta@deloitte.com::df80c2e9-1ba8-47de-bdfe-c5555afca713" providerId="AD" clId="Web-{67349A41-4711-4AF2-A039-3A43B09BD87A}" dt="2022-08-18T17:46:28.997" v="21" actId="20577"/>
        <pc:sldMkLst>
          <pc:docMk/>
          <pc:sldMk cId="1714494625" sldId="459"/>
        </pc:sldMkLst>
        <pc:spChg chg="mod">
          <ac:chgData name="Gupta, Maanik" userId="S::maagupta@deloitte.com::df80c2e9-1ba8-47de-bdfe-c5555afca713" providerId="AD" clId="Web-{67349A41-4711-4AF2-A039-3A43B09BD87A}" dt="2022-08-18T17:46:28.997" v="21" actId="20577"/>
          <ac:spMkLst>
            <pc:docMk/>
            <pc:sldMk cId="1714494625" sldId="459"/>
            <ac:spMk id="3" creationId="{B3852ADB-BFEF-37E5-D20B-0174468DB396}"/>
          </ac:spMkLst>
        </pc:spChg>
      </pc:sldChg>
      <pc:sldChg chg="modSp">
        <pc:chgData name="Gupta, Maanik" userId="S::maagupta@deloitte.com::df80c2e9-1ba8-47de-bdfe-c5555afca713" providerId="AD" clId="Web-{67349A41-4711-4AF2-A039-3A43B09BD87A}" dt="2022-08-18T17:50:58.271" v="96" actId="20577"/>
        <pc:sldMkLst>
          <pc:docMk/>
          <pc:sldMk cId="3031157915" sldId="464"/>
        </pc:sldMkLst>
        <pc:spChg chg="mod">
          <ac:chgData name="Gupta, Maanik" userId="S::maagupta@deloitte.com::df80c2e9-1ba8-47de-bdfe-c5555afca713" providerId="AD" clId="Web-{67349A41-4711-4AF2-A039-3A43B09BD87A}" dt="2022-08-18T17:50:58.271" v="96" actId="20577"/>
          <ac:spMkLst>
            <pc:docMk/>
            <pc:sldMk cId="3031157915" sldId="464"/>
            <ac:spMk id="5" creationId="{C2B756BC-73D1-43E2-6FB6-EE9424529B9B}"/>
          </ac:spMkLst>
        </pc:spChg>
      </pc:sldChg>
    </pc:docChg>
  </pc:docChgLst>
  <pc:docChgLst>
    <pc:chgData name="Gupta, Maanik" userId="S::maagupta@deloitte.com::df80c2e9-1ba8-47de-bdfe-c5555afca713" providerId="AD" clId="Web-{9003C85D-85C8-4D36-8FF9-CBF48D6710F2}"/>
    <pc:docChg chg="sldOrd">
      <pc:chgData name="Gupta, Maanik" userId="S::maagupta@deloitte.com::df80c2e9-1ba8-47de-bdfe-c5555afca713" providerId="AD" clId="Web-{9003C85D-85C8-4D36-8FF9-CBF48D6710F2}" dt="2022-08-18T21:00:33.585" v="0"/>
      <pc:docMkLst>
        <pc:docMk/>
      </pc:docMkLst>
      <pc:sldChg chg="ord">
        <pc:chgData name="Gupta, Maanik" userId="S::maagupta@deloitte.com::df80c2e9-1ba8-47de-bdfe-c5555afca713" providerId="AD" clId="Web-{9003C85D-85C8-4D36-8FF9-CBF48D6710F2}" dt="2022-08-18T21:00:33.585" v="0"/>
        <pc:sldMkLst>
          <pc:docMk/>
          <pc:sldMk cId="1714877050" sldId="367"/>
        </pc:sldMkLst>
      </pc:sldChg>
    </pc:docChg>
  </pc:docChgLst>
  <pc:docChgLst>
    <pc:chgData name="Sandlin, Maya" userId="S::msandlin@deloitte.com::329295a2-1b91-4dc4-8178-61636d7de7a9" providerId="AD" clId="Web-{390A60B6-760E-02C0-69DC-39DEAABB2BA7}"/>
    <pc:docChg chg="modSld">
      <pc:chgData name="Sandlin, Maya" userId="S::msandlin@deloitte.com::329295a2-1b91-4dc4-8178-61636d7de7a9" providerId="AD" clId="Web-{390A60B6-760E-02C0-69DC-39DEAABB2BA7}" dt="2022-08-18T21:15:43.035" v="150" actId="1076"/>
      <pc:docMkLst>
        <pc:docMk/>
      </pc:docMkLst>
      <pc:sldChg chg="modSp">
        <pc:chgData name="Sandlin, Maya" userId="S::msandlin@deloitte.com::329295a2-1b91-4dc4-8178-61636d7de7a9" providerId="AD" clId="Web-{390A60B6-760E-02C0-69DC-39DEAABB2BA7}" dt="2022-08-18T21:15:43.035" v="150" actId="1076"/>
        <pc:sldMkLst>
          <pc:docMk/>
          <pc:sldMk cId="763584098" sldId="457"/>
        </pc:sldMkLst>
        <pc:spChg chg="mod">
          <ac:chgData name="Sandlin, Maya" userId="S::msandlin@deloitte.com::329295a2-1b91-4dc4-8178-61636d7de7a9" providerId="AD" clId="Web-{390A60B6-760E-02C0-69DC-39DEAABB2BA7}" dt="2022-08-18T21:15:43.035" v="150" actId="1076"/>
          <ac:spMkLst>
            <pc:docMk/>
            <pc:sldMk cId="763584098" sldId="457"/>
            <ac:spMk id="5" creationId="{139D7704-6031-3EF0-D2DC-25A108321A72}"/>
          </ac:spMkLst>
        </pc:spChg>
      </pc:sldChg>
      <pc:sldChg chg="addSp delSp modSp">
        <pc:chgData name="Sandlin, Maya" userId="S::msandlin@deloitte.com::329295a2-1b91-4dc4-8178-61636d7de7a9" providerId="AD" clId="Web-{390A60B6-760E-02C0-69DC-39DEAABB2BA7}" dt="2022-08-18T21:12:46.421" v="147" actId="1076"/>
        <pc:sldMkLst>
          <pc:docMk/>
          <pc:sldMk cId="1984168158" sldId="678"/>
        </pc:sldMkLst>
        <pc:spChg chg="mod">
          <ac:chgData name="Sandlin, Maya" userId="S::msandlin@deloitte.com::329295a2-1b91-4dc4-8178-61636d7de7a9" providerId="AD" clId="Web-{390A60B6-760E-02C0-69DC-39DEAABB2BA7}" dt="2022-08-18T21:09:44.526" v="118" actId="20577"/>
          <ac:spMkLst>
            <pc:docMk/>
            <pc:sldMk cId="1984168158" sldId="678"/>
            <ac:spMk id="2" creationId="{00000000-0000-0000-0000-000000000000}"/>
          </ac:spMkLst>
        </pc:spChg>
        <pc:spChg chg="add del mod">
          <ac:chgData name="Sandlin, Maya" userId="S::msandlin@deloitte.com::329295a2-1b91-4dc4-8178-61636d7de7a9" providerId="AD" clId="Web-{390A60B6-760E-02C0-69DC-39DEAABB2BA7}" dt="2022-08-18T21:12:00.529" v="139"/>
          <ac:spMkLst>
            <pc:docMk/>
            <pc:sldMk cId="1984168158" sldId="678"/>
            <ac:spMk id="3" creationId="{6C00CF7B-3F38-8207-4EB2-3CB7E7CFEB33}"/>
          </ac:spMkLst>
        </pc:spChg>
        <pc:spChg chg="add mod">
          <ac:chgData name="Sandlin, Maya" userId="S::msandlin@deloitte.com::329295a2-1b91-4dc4-8178-61636d7de7a9" providerId="AD" clId="Web-{390A60B6-760E-02C0-69DC-39DEAABB2BA7}" dt="2022-08-18T21:12:46.421" v="147" actId="1076"/>
          <ac:spMkLst>
            <pc:docMk/>
            <pc:sldMk cId="1984168158" sldId="678"/>
            <ac:spMk id="4" creationId="{94AC133D-E186-3958-B748-2EDBA2B7F432}"/>
          </ac:spMkLst>
        </pc:spChg>
        <pc:spChg chg="mod">
          <ac:chgData name="Sandlin, Maya" userId="S::msandlin@deloitte.com::329295a2-1b91-4dc4-8178-61636d7de7a9" providerId="AD" clId="Web-{390A60B6-760E-02C0-69DC-39DEAABB2BA7}" dt="2022-08-18T21:10:11.636" v="121" actId="20577"/>
          <ac:spMkLst>
            <pc:docMk/>
            <pc:sldMk cId="1984168158" sldId="678"/>
            <ac:spMk id="6" creationId="{56894CCE-B834-4C3F-B9F2-F3E11179CB63}"/>
          </ac:spMkLst>
        </pc:spChg>
        <pc:spChg chg="add mod">
          <ac:chgData name="Sandlin, Maya" userId="S::msandlin@deloitte.com::329295a2-1b91-4dc4-8178-61636d7de7a9" providerId="AD" clId="Web-{390A60B6-760E-02C0-69DC-39DEAABB2BA7}" dt="2022-08-18T21:12:42.483" v="146" actId="1076"/>
          <ac:spMkLst>
            <pc:docMk/>
            <pc:sldMk cId="1984168158" sldId="678"/>
            <ac:spMk id="7" creationId="{A7A673A4-7610-2638-DEFF-197D71CF1127}"/>
          </ac:spMkLst>
        </pc:spChg>
        <pc:spChg chg="mod">
          <ac:chgData name="Sandlin, Maya" userId="S::msandlin@deloitte.com::329295a2-1b91-4dc4-8178-61636d7de7a9" providerId="AD" clId="Web-{390A60B6-760E-02C0-69DC-39DEAABB2BA7}" dt="2022-08-18T21:11:19.231" v="131" actId="20577"/>
          <ac:spMkLst>
            <pc:docMk/>
            <pc:sldMk cId="1984168158" sldId="678"/>
            <ac:spMk id="10" creationId="{C19D958C-16BF-40CC-953E-14E1B60C2695}"/>
          </ac:spMkLst>
        </pc:spChg>
      </pc:sldChg>
      <pc:sldChg chg="addSp modSp">
        <pc:chgData name="Sandlin, Maya" userId="S::msandlin@deloitte.com::329295a2-1b91-4dc4-8178-61636d7de7a9" providerId="AD" clId="Web-{390A60B6-760E-02C0-69DC-39DEAABB2BA7}" dt="2022-08-18T21:12:59.984" v="149" actId="1076"/>
        <pc:sldMkLst>
          <pc:docMk/>
          <pc:sldMk cId="3923910200" sldId="680"/>
        </pc:sldMkLst>
        <pc:spChg chg="add mod">
          <ac:chgData name="Sandlin, Maya" userId="S::msandlin@deloitte.com::329295a2-1b91-4dc4-8178-61636d7de7a9" providerId="AD" clId="Web-{390A60B6-760E-02C0-69DC-39DEAABB2BA7}" dt="2022-08-18T21:12:59.984" v="149" actId="1076"/>
          <ac:spMkLst>
            <pc:docMk/>
            <pc:sldMk cId="3923910200" sldId="680"/>
            <ac:spMk id="4" creationId="{9A5A361D-584A-C208-1DB6-B7767B0FC9EB}"/>
          </ac:spMkLst>
        </pc:spChg>
        <pc:spChg chg="mod">
          <ac:chgData name="Sandlin, Maya" userId="S::msandlin@deloitte.com::329295a2-1b91-4dc4-8178-61636d7de7a9" providerId="AD" clId="Web-{390A60B6-760E-02C0-69DC-39DEAABB2BA7}" dt="2022-08-18T21:11:33.372" v="133" actId="14100"/>
          <ac:spMkLst>
            <pc:docMk/>
            <pc:sldMk cId="3923910200" sldId="680"/>
            <ac:spMk id="7" creationId="{EAB3F2BB-9D0B-420F-B78F-A13D0DA5D4E1}"/>
          </ac:spMkLst>
        </pc:spChg>
        <pc:spChg chg="mod">
          <ac:chgData name="Sandlin, Maya" userId="S::msandlin@deloitte.com::329295a2-1b91-4dc4-8178-61636d7de7a9" providerId="AD" clId="Web-{390A60B6-760E-02C0-69DC-39DEAABB2BA7}" dt="2022-08-18T21:11:02.528" v="130" actId="20577"/>
          <ac:spMkLst>
            <pc:docMk/>
            <pc:sldMk cId="3923910200" sldId="680"/>
            <ac:spMk id="9" creationId="{48F07846-B713-4DA4-A2A6-DD37FFB87D40}"/>
          </ac:spMkLst>
        </pc:spChg>
      </pc:sldChg>
      <pc:sldChg chg="addSp delSp modSp mod modClrScheme chgLayout">
        <pc:chgData name="Sandlin, Maya" userId="S::msandlin@deloitte.com::329295a2-1b91-4dc4-8178-61636d7de7a9" providerId="AD" clId="Web-{390A60B6-760E-02C0-69DC-39DEAABB2BA7}" dt="2022-08-18T19:14:32.032" v="94"/>
        <pc:sldMkLst>
          <pc:docMk/>
          <pc:sldMk cId="3470529705" sldId="682"/>
        </pc:sldMkLst>
        <pc:spChg chg="mod ord">
          <ac:chgData name="Sandlin, Maya" userId="S::msandlin@deloitte.com::329295a2-1b91-4dc4-8178-61636d7de7a9" providerId="AD" clId="Web-{390A60B6-760E-02C0-69DC-39DEAABB2BA7}" dt="2022-08-18T19:03:02.461" v="2"/>
          <ac:spMkLst>
            <pc:docMk/>
            <pc:sldMk cId="3470529705" sldId="682"/>
            <ac:spMk id="2" creationId="{78551FFF-6221-A16C-D62E-DE14EA63441F}"/>
          </ac:spMkLst>
        </pc:spChg>
        <pc:spChg chg="mod ord">
          <ac:chgData name="Sandlin, Maya" userId="S::msandlin@deloitte.com::329295a2-1b91-4dc4-8178-61636d7de7a9" providerId="AD" clId="Web-{390A60B6-760E-02C0-69DC-39DEAABB2BA7}" dt="2022-08-18T19:03:02.461" v="2"/>
          <ac:spMkLst>
            <pc:docMk/>
            <pc:sldMk cId="3470529705" sldId="682"/>
            <ac:spMk id="3" creationId="{0343FCF2-09C0-D547-0F48-DC696BA52983}"/>
          </ac:spMkLst>
        </pc:spChg>
        <pc:spChg chg="mod ord">
          <ac:chgData name="Sandlin, Maya" userId="S::msandlin@deloitte.com::329295a2-1b91-4dc4-8178-61636d7de7a9" providerId="AD" clId="Web-{390A60B6-760E-02C0-69DC-39DEAABB2BA7}" dt="2022-08-18T19:14:10.594" v="92" actId="20577"/>
          <ac:spMkLst>
            <pc:docMk/>
            <pc:sldMk cId="3470529705" sldId="682"/>
            <ac:spMk id="4" creationId="{A38FEBA9-4E0A-0A13-EB67-B0421CD5ECC9}"/>
          </ac:spMkLst>
        </pc:spChg>
        <pc:spChg chg="add del mod ord">
          <ac:chgData name="Sandlin, Maya" userId="S::msandlin@deloitte.com::329295a2-1b91-4dc4-8178-61636d7de7a9" providerId="AD" clId="Web-{390A60B6-760E-02C0-69DC-39DEAABB2BA7}" dt="2022-08-18T19:02:16.928" v="1"/>
          <ac:spMkLst>
            <pc:docMk/>
            <pc:sldMk cId="3470529705" sldId="682"/>
            <ac:spMk id="5" creationId="{79A4F495-38E7-56B5-BD01-3BA15B8C6D60}"/>
          </ac:spMkLst>
        </pc:spChg>
        <pc:spChg chg="add del mod ord">
          <ac:chgData name="Sandlin, Maya" userId="S::msandlin@deloitte.com::329295a2-1b91-4dc4-8178-61636d7de7a9" providerId="AD" clId="Web-{390A60B6-760E-02C0-69DC-39DEAABB2BA7}" dt="2022-08-18T19:02:16.928" v="1"/>
          <ac:spMkLst>
            <pc:docMk/>
            <pc:sldMk cId="3470529705" sldId="682"/>
            <ac:spMk id="6" creationId="{D444FC02-5998-DB5C-AB9D-CD2A7A8F6107}"/>
          </ac:spMkLst>
        </pc:spChg>
        <pc:spChg chg="add del mod ord">
          <ac:chgData name="Sandlin, Maya" userId="S::msandlin@deloitte.com::329295a2-1b91-4dc4-8178-61636d7de7a9" providerId="AD" clId="Web-{390A60B6-760E-02C0-69DC-39DEAABB2BA7}" dt="2022-08-18T19:02:16.928" v="1"/>
          <ac:spMkLst>
            <pc:docMk/>
            <pc:sldMk cId="3470529705" sldId="682"/>
            <ac:spMk id="7" creationId="{759BF7E4-9C4B-88BD-68B6-5FE70ED58A91}"/>
          </ac:spMkLst>
        </pc:spChg>
        <pc:spChg chg="add del mod ord">
          <ac:chgData name="Sandlin, Maya" userId="S::msandlin@deloitte.com::329295a2-1b91-4dc4-8178-61636d7de7a9" providerId="AD" clId="Web-{390A60B6-760E-02C0-69DC-39DEAABB2BA7}" dt="2022-08-18T19:14:26.438" v="93"/>
          <ac:spMkLst>
            <pc:docMk/>
            <pc:sldMk cId="3470529705" sldId="682"/>
            <ac:spMk id="8" creationId="{01FA55F0-B0D0-1907-DEE2-10AA01C6B7CC}"/>
          </ac:spMkLst>
        </pc:spChg>
        <pc:spChg chg="mod ord">
          <ac:chgData name="Sandlin, Maya" userId="S::msandlin@deloitte.com::329295a2-1b91-4dc4-8178-61636d7de7a9" providerId="AD" clId="Web-{390A60B6-760E-02C0-69DC-39DEAABB2BA7}" dt="2022-08-18T19:03:02.461" v="2"/>
          <ac:spMkLst>
            <pc:docMk/>
            <pc:sldMk cId="3470529705" sldId="682"/>
            <ac:spMk id="9" creationId="{CD07A0D3-435C-6605-7050-C2B03121D2AE}"/>
          </ac:spMkLst>
        </pc:spChg>
        <pc:spChg chg="del mod ord">
          <ac:chgData name="Sandlin, Maya" userId="S::msandlin@deloitte.com::329295a2-1b91-4dc4-8178-61636d7de7a9" providerId="AD" clId="Web-{390A60B6-760E-02C0-69DC-39DEAABB2BA7}" dt="2022-08-18T19:03:40.837" v="18"/>
          <ac:spMkLst>
            <pc:docMk/>
            <pc:sldMk cId="3470529705" sldId="682"/>
            <ac:spMk id="10" creationId="{D8420DAE-0BEB-1351-C48B-257CBD3338DB}"/>
          </ac:spMkLst>
        </pc:spChg>
        <pc:spChg chg="del mod ord">
          <ac:chgData name="Sandlin, Maya" userId="S::msandlin@deloitte.com::329295a2-1b91-4dc4-8178-61636d7de7a9" providerId="AD" clId="Web-{390A60B6-760E-02C0-69DC-39DEAABB2BA7}" dt="2022-08-18T19:05:12.778" v="50"/>
          <ac:spMkLst>
            <pc:docMk/>
            <pc:sldMk cId="3470529705" sldId="682"/>
            <ac:spMk id="11" creationId="{8DDCC4C9-8B88-EE17-0B10-A724BE1A2759}"/>
          </ac:spMkLst>
        </pc:spChg>
        <pc:spChg chg="add del mod ord">
          <ac:chgData name="Sandlin, Maya" userId="S::msandlin@deloitte.com::329295a2-1b91-4dc4-8178-61636d7de7a9" providerId="AD" clId="Web-{390A60B6-760E-02C0-69DC-39DEAABB2BA7}" dt="2022-08-18T19:14:32.032" v="94"/>
          <ac:spMkLst>
            <pc:docMk/>
            <pc:sldMk cId="3470529705" sldId="682"/>
            <ac:spMk id="12" creationId="{1C133586-674C-16B6-9849-C6961997E863}"/>
          </ac:spMkLst>
        </pc:spChg>
        <pc:spChg chg="add mod">
          <ac:chgData name="Sandlin, Maya" userId="S::msandlin@deloitte.com::329295a2-1b91-4dc4-8178-61636d7de7a9" providerId="AD" clId="Web-{390A60B6-760E-02C0-69DC-39DEAABB2BA7}" dt="2022-08-18T19:04:01.291" v="26" actId="14100"/>
          <ac:spMkLst>
            <pc:docMk/>
            <pc:sldMk cId="3470529705" sldId="682"/>
            <ac:spMk id="14" creationId="{665DC80B-5F67-6F7D-F3F7-6F891E5FB7AC}"/>
          </ac:spMkLst>
        </pc:spChg>
        <pc:spChg chg="add del mod">
          <ac:chgData name="Sandlin, Maya" userId="S::msandlin@deloitte.com::329295a2-1b91-4dc4-8178-61636d7de7a9" providerId="AD" clId="Web-{390A60B6-760E-02C0-69DC-39DEAABB2BA7}" dt="2022-08-18T19:04:35.636" v="34"/>
          <ac:spMkLst>
            <pc:docMk/>
            <pc:sldMk cId="3470529705" sldId="682"/>
            <ac:spMk id="15" creationId="{409C7AA1-9A06-4201-45B9-F499A1397901}"/>
          </ac:spMkLst>
        </pc:spChg>
        <pc:spChg chg="add mod">
          <ac:chgData name="Sandlin, Maya" userId="S::msandlin@deloitte.com::329295a2-1b91-4dc4-8178-61636d7de7a9" providerId="AD" clId="Web-{390A60B6-760E-02C0-69DC-39DEAABB2BA7}" dt="2022-08-18T19:05:20.513" v="52" actId="1076"/>
          <ac:spMkLst>
            <pc:docMk/>
            <pc:sldMk cId="3470529705" sldId="682"/>
            <ac:spMk id="17" creationId="{7C4C072D-159D-BCD5-C6E1-1EC6720781D3}"/>
          </ac:spMkLst>
        </pc:spChg>
        <pc:spChg chg="mod">
          <ac:chgData name="Sandlin, Maya" userId="S::msandlin@deloitte.com::329295a2-1b91-4dc4-8178-61636d7de7a9" providerId="AD" clId="Web-{390A60B6-760E-02C0-69DC-39DEAABB2BA7}" dt="2022-08-18T19:08:59.411" v="80" actId="1076"/>
          <ac:spMkLst>
            <pc:docMk/>
            <pc:sldMk cId="3470529705" sldId="682"/>
            <ac:spMk id="20" creationId="{E1CFD9EF-724A-4949-B697-38140BBA2958}"/>
          </ac:spMkLst>
        </pc:spChg>
        <pc:cxnChg chg="add mod">
          <ac:chgData name="Sandlin, Maya" userId="S::msandlin@deloitte.com::329295a2-1b91-4dc4-8178-61636d7de7a9" providerId="AD" clId="Web-{390A60B6-760E-02C0-69DC-39DEAABB2BA7}" dt="2022-08-18T19:07:12.470" v="67" actId="14100"/>
          <ac:cxnSpMkLst>
            <pc:docMk/>
            <pc:sldMk cId="3470529705" sldId="682"/>
            <ac:cxnSpMk id="18" creationId="{75239D49-A438-DF06-DE36-79F23AFA3884}"/>
          </ac:cxnSpMkLst>
        </pc:cxnChg>
        <pc:cxnChg chg="add mod">
          <ac:chgData name="Sandlin, Maya" userId="S::msandlin@deloitte.com::329295a2-1b91-4dc4-8178-61636d7de7a9" providerId="AD" clId="Web-{390A60B6-760E-02C0-69DC-39DEAABB2BA7}" dt="2022-08-18T19:08:39.723" v="77" actId="14100"/>
          <ac:cxnSpMkLst>
            <pc:docMk/>
            <pc:sldMk cId="3470529705" sldId="682"/>
            <ac:cxnSpMk id="19" creationId="{5CB3BA6F-0F8C-83F6-19E0-B11FAB7B38AD}"/>
          </ac:cxnSpMkLst>
        </pc:cxnChg>
        <pc:cxnChg chg="add mod">
          <ac:chgData name="Sandlin, Maya" userId="S::msandlin@deloitte.com::329295a2-1b91-4dc4-8178-61636d7de7a9" providerId="AD" clId="Web-{390A60B6-760E-02C0-69DC-39DEAABB2BA7}" dt="2022-08-18T19:08:51.958" v="78" actId="1076"/>
          <ac:cxnSpMkLst>
            <pc:docMk/>
            <pc:sldMk cId="3470529705" sldId="682"/>
            <ac:cxnSpMk id="21" creationId="{BF837CDA-DB1D-A6F9-294F-649B6EDBA5C9}"/>
          </ac:cxnSpMkLst>
        </pc:cxnChg>
      </pc:sldChg>
    </pc:docChg>
  </pc:docChgLst>
  <pc:docChgLst>
    <pc:chgData name="Gupta, Maanik" userId="S::maagupta@deloitte.com::df80c2e9-1ba8-47de-bdfe-c5555afca713" providerId="AD" clId="Web-{3F41A343-D4DE-4B68-A0DC-BDB24E9DC3B0}"/>
    <pc:docChg chg="modSld">
      <pc:chgData name="Gupta, Maanik" userId="S::maagupta@deloitte.com::df80c2e9-1ba8-47de-bdfe-c5555afca713" providerId="AD" clId="Web-{3F41A343-D4DE-4B68-A0DC-BDB24E9DC3B0}" dt="2022-08-18T13:29:06.299" v="163" actId="20577"/>
      <pc:docMkLst>
        <pc:docMk/>
      </pc:docMkLst>
      <pc:sldChg chg="modSp">
        <pc:chgData name="Gupta, Maanik" userId="S::maagupta@deloitte.com::df80c2e9-1ba8-47de-bdfe-c5555afca713" providerId="AD" clId="Web-{3F41A343-D4DE-4B68-A0DC-BDB24E9DC3B0}" dt="2022-08-18T13:29:06.299" v="163" actId="20577"/>
        <pc:sldMkLst>
          <pc:docMk/>
          <pc:sldMk cId="2552575641" sldId="344"/>
        </pc:sldMkLst>
        <pc:spChg chg="mod">
          <ac:chgData name="Gupta, Maanik" userId="S::maagupta@deloitte.com::df80c2e9-1ba8-47de-bdfe-c5555afca713" providerId="AD" clId="Web-{3F41A343-D4DE-4B68-A0DC-BDB24E9DC3B0}" dt="2022-08-18T13:29:06.299" v="163" actId="20577"/>
          <ac:spMkLst>
            <pc:docMk/>
            <pc:sldMk cId="2552575641" sldId="344"/>
            <ac:spMk id="5" creationId="{00000000-0000-0000-0000-000000000000}"/>
          </ac:spMkLst>
        </pc:spChg>
      </pc:sldChg>
    </pc:docChg>
  </pc:docChgLst>
  <pc:docChgLst>
    <pc:chgData name="Gupta, Maanik" userId="S::maagupta@deloitte.com::df80c2e9-1ba8-47de-bdfe-c5555afca713" providerId="AD" clId="Web-{031D1BC3-2912-4756-9DC2-B85336598073}"/>
    <pc:docChg chg="modSld">
      <pc:chgData name="Gupta, Maanik" userId="S::maagupta@deloitte.com::df80c2e9-1ba8-47de-bdfe-c5555afca713" providerId="AD" clId="Web-{031D1BC3-2912-4756-9DC2-B85336598073}" dt="2022-08-18T20:10:09.577" v="955" actId="20577"/>
      <pc:docMkLst>
        <pc:docMk/>
      </pc:docMkLst>
      <pc:sldChg chg="modSp">
        <pc:chgData name="Gupta, Maanik" userId="S::maagupta@deloitte.com::df80c2e9-1ba8-47de-bdfe-c5555afca713" providerId="AD" clId="Web-{031D1BC3-2912-4756-9DC2-B85336598073}" dt="2022-08-18T19:30:09.065" v="374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031D1BC3-2912-4756-9DC2-B85336598073}" dt="2022-08-18T19:30:09.065" v="374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 modNotes">
        <pc:chgData name="Gupta, Maanik" userId="S::maagupta@deloitte.com::df80c2e9-1ba8-47de-bdfe-c5555afca713" providerId="AD" clId="Web-{031D1BC3-2912-4756-9DC2-B85336598073}" dt="2022-08-18T19:43:52.533" v="756"/>
        <pc:sldMkLst>
          <pc:docMk/>
          <pc:sldMk cId="2745247743" sldId="462"/>
        </pc:sldMkLst>
        <pc:spChg chg="mod">
          <ac:chgData name="Gupta, Maanik" userId="S::maagupta@deloitte.com::df80c2e9-1ba8-47de-bdfe-c5555afca713" providerId="AD" clId="Web-{031D1BC3-2912-4756-9DC2-B85336598073}" dt="2022-08-18T19:43:29.689" v="688" actId="20577"/>
          <ac:spMkLst>
            <pc:docMk/>
            <pc:sldMk cId="2745247743" sldId="462"/>
            <ac:spMk id="6773" creationId="{3C0509D5-4993-F641-5EF7-3DC9904CAD14}"/>
          </ac:spMkLst>
        </pc:spChg>
      </pc:sldChg>
      <pc:sldChg chg="modNotes">
        <pc:chgData name="Gupta, Maanik" userId="S::maagupta@deloitte.com::df80c2e9-1ba8-47de-bdfe-c5555afca713" providerId="AD" clId="Web-{031D1BC3-2912-4756-9DC2-B85336598073}" dt="2022-08-18T19:49:11.670" v="934"/>
        <pc:sldMkLst>
          <pc:docMk/>
          <pc:sldMk cId="4228642639" sldId="674"/>
        </pc:sldMkLst>
      </pc:sldChg>
      <pc:sldChg chg="modSp">
        <pc:chgData name="Gupta, Maanik" userId="S::maagupta@deloitte.com::df80c2e9-1ba8-47de-bdfe-c5555afca713" providerId="AD" clId="Web-{031D1BC3-2912-4756-9DC2-B85336598073}" dt="2022-08-18T19:38:32.115" v="629" actId="20577"/>
        <pc:sldMkLst>
          <pc:docMk/>
          <pc:sldMk cId="4141369604" sldId="675"/>
        </pc:sldMkLst>
        <pc:spChg chg="mod">
          <ac:chgData name="Gupta, Maanik" userId="S::maagupta@deloitte.com::df80c2e9-1ba8-47de-bdfe-c5555afca713" providerId="AD" clId="Web-{031D1BC3-2912-4756-9DC2-B85336598073}" dt="2022-08-18T19:38:32.115" v="629" actId="20577"/>
          <ac:spMkLst>
            <pc:docMk/>
            <pc:sldMk cId="4141369604" sldId="675"/>
            <ac:spMk id="5" creationId="{C2B756BC-73D1-43E2-6FB6-EE9424529B9B}"/>
          </ac:spMkLst>
        </pc:spChg>
      </pc:sldChg>
      <pc:sldChg chg="modSp">
        <pc:chgData name="Gupta, Maanik" userId="S::maagupta@deloitte.com::df80c2e9-1ba8-47de-bdfe-c5555afca713" providerId="AD" clId="Web-{031D1BC3-2912-4756-9DC2-B85336598073}" dt="2022-08-18T20:10:09.577" v="955" actId="20577"/>
        <pc:sldMkLst>
          <pc:docMk/>
          <pc:sldMk cId="3470529705" sldId="682"/>
        </pc:sldMkLst>
        <pc:spChg chg="mod">
          <ac:chgData name="Gupta, Maanik" userId="S::maagupta@deloitte.com::df80c2e9-1ba8-47de-bdfe-c5555afca713" providerId="AD" clId="Web-{031D1BC3-2912-4756-9DC2-B85336598073}" dt="2022-08-18T20:10:09.577" v="955" actId="20577"/>
          <ac:spMkLst>
            <pc:docMk/>
            <pc:sldMk cId="3470529705" sldId="682"/>
            <ac:spMk id="17" creationId="{7C4C072D-159D-BCD5-C6E1-1EC6720781D3}"/>
          </ac:spMkLst>
        </pc:spChg>
      </pc:sldChg>
    </pc:docChg>
  </pc:docChgLst>
  <pc:docChgLst>
    <pc:chgData name="Umholtz, Jake" userId="68c67aa9-53c4-4aab-a03d-c07f0aadf984" providerId="ADAL" clId="{E8B9A4AC-3859-48A6-9E4D-9C49887B00C8}"/>
    <pc:docChg chg="undo redo custSel addSld delSld modSld sldOrd">
      <pc:chgData name="Umholtz, Jake" userId="68c67aa9-53c4-4aab-a03d-c07f0aadf984" providerId="ADAL" clId="{E8B9A4AC-3859-48A6-9E4D-9C49887B00C8}" dt="2023-02-03T01:09:12.162" v="7695" actId="47"/>
      <pc:docMkLst>
        <pc:docMk/>
      </pc:docMkLst>
      <pc:sldChg chg="delSp modSp add del mod ord setBg delDesignElem">
        <pc:chgData name="Umholtz, Jake" userId="68c67aa9-53c4-4aab-a03d-c07f0aadf984" providerId="ADAL" clId="{E8B9A4AC-3859-48A6-9E4D-9C49887B00C8}" dt="2023-01-27T16:13:11.596" v="84" actId="47"/>
        <pc:sldMkLst>
          <pc:docMk/>
          <pc:sldMk cId="1512707033" sldId="267"/>
        </pc:sldMkLst>
        <pc:spChg chg="mod">
          <ac:chgData name="Umholtz, Jake" userId="68c67aa9-53c4-4aab-a03d-c07f0aadf984" providerId="ADAL" clId="{E8B9A4AC-3859-48A6-9E4D-9C49887B00C8}" dt="2023-01-27T16:13:09.298" v="82" actId="27636"/>
          <ac:spMkLst>
            <pc:docMk/>
            <pc:sldMk cId="1512707033" sldId="267"/>
            <ac:spMk id="2" creationId="{6D89C9B4-1B4D-49E4-86B7-A0B863C5A67C}"/>
          </ac:spMkLst>
        </pc:spChg>
        <pc:spChg chg="mod">
          <ac:chgData name="Umholtz, Jake" userId="68c67aa9-53c4-4aab-a03d-c07f0aadf984" providerId="ADAL" clId="{E8B9A4AC-3859-48A6-9E4D-9C49887B00C8}" dt="2023-01-27T16:13:09.300" v="83" actId="27636"/>
          <ac:spMkLst>
            <pc:docMk/>
            <pc:sldMk cId="1512707033" sldId="267"/>
            <ac:spMk id="7" creationId="{5AACCED9-E3A1-4CB0-B9B7-68A24F085634}"/>
          </ac:spMkLst>
        </pc:spChg>
        <pc:spChg chg="del">
          <ac:chgData name="Umholtz, Jake" userId="68c67aa9-53c4-4aab-a03d-c07f0aadf984" providerId="ADAL" clId="{E8B9A4AC-3859-48A6-9E4D-9C49887B00C8}" dt="2023-01-27T16:13:09.268" v="81"/>
          <ac:spMkLst>
            <pc:docMk/>
            <pc:sldMk cId="1512707033" sldId="267"/>
            <ac:spMk id="8" creationId="{66B332A4-D438-4773-A77F-5ED49A448D9D}"/>
          </ac:spMkLst>
        </pc:spChg>
        <pc:spChg chg="del">
          <ac:chgData name="Umholtz, Jake" userId="68c67aa9-53c4-4aab-a03d-c07f0aadf984" providerId="ADAL" clId="{E8B9A4AC-3859-48A6-9E4D-9C49887B00C8}" dt="2023-01-27T16:13:09.268" v="81"/>
          <ac:spMkLst>
            <pc:docMk/>
            <pc:sldMk cId="1512707033" sldId="267"/>
            <ac:spMk id="10" creationId="{DF9AD32D-FF05-44F4-BD4D-9CEE89B71EB9}"/>
          </ac:spMkLst>
        </pc:spChg>
      </pc:sldChg>
      <pc:sldChg chg="addSp delSp modSp add mod">
        <pc:chgData name="Umholtz, Jake" userId="68c67aa9-53c4-4aab-a03d-c07f0aadf984" providerId="ADAL" clId="{E8B9A4AC-3859-48A6-9E4D-9C49887B00C8}" dt="2023-02-03T00:52:51.070" v="7388" actId="113"/>
        <pc:sldMkLst>
          <pc:docMk/>
          <pc:sldMk cId="2186731111" sldId="281"/>
        </pc:sldMkLst>
        <pc:spChg chg="del">
          <ac:chgData name="Umholtz, Jake" userId="68c67aa9-53c4-4aab-a03d-c07f0aadf984" providerId="ADAL" clId="{E8B9A4AC-3859-48A6-9E4D-9C49887B00C8}" dt="2023-02-03T00:41:19.908" v="6666" actId="478"/>
          <ac:spMkLst>
            <pc:docMk/>
            <pc:sldMk cId="2186731111" sldId="281"/>
            <ac:spMk id="2" creationId="{D62E3623-50E0-8F4B-8591-C654EA84AA5C}"/>
          </ac:spMkLst>
        </pc:spChg>
        <pc:spChg chg="add del mod">
          <ac:chgData name="Umholtz, Jake" userId="68c67aa9-53c4-4aab-a03d-c07f0aadf984" providerId="ADAL" clId="{E8B9A4AC-3859-48A6-9E4D-9C49887B00C8}" dt="2023-02-03T00:41:22.899" v="6667" actId="478"/>
          <ac:spMkLst>
            <pc:docMk/>
            <pc:sldMk cId="2186731111" sldId="281"/>
            <ac:spMk id="4" creationId="{B4E05BE4-DB51-4439-B898-8B8D9E804DD6}"/>
          </ac:spMkLst>
        </pc:spChg>
        <pc:spChg chg="add del">
          <ac:chgData name="Umholtz, Jake" userId="68c67aa9-53c4-4aab-a03d-c07f0aadf984" providerId="ADAL" clId="{E8B9A4AC-3859-48A6-9E4D-9C49887B00C8}" dt="2023-02-03T00:44:33.391" v="6813"/>
          <ac:spMkLst>
            <pc:docMk/>
            <pc:sldMk cId="2186731111" sldId="281"/>
            <ac:spMk id="6" creationId="{438ED7C0-5484-422C-B39D-9DE6AB6C50A6}"/>
          </ac:spMkLst>
        </pc:spChg>
        <pc:spChg chg="add del mod">
          <ac:chgData name="Umholtz, Jake" userId="68c67aa9-53c4-4aab-a03d-c07f0aadf984" providerId="ADAL" clId="{E8B9A4AC-3859-48A6-9E4D-9C49887B00C8}" dt="2023-02-03T00:44:32.790" v="6812"/>
          <ac:spMkLst>
            <pc:docMk/>
            <pc:sldMk cId="2186731111" sldId="281"/>
            <ac:spMk id="7" creationId="{874AA2CB-B4F3-455D-B74D-8521C789A3DA}"/>
          </ac:spMkLst>
        </pc:spChg>
        <pc:spChg chg="add del">
          <ac:chgData name="Umholtz, Jake" userId="68c67aa9-53c4-4aab-a03d-c07f0aadf984" providerId="ADAL" clId="{E8B9A4AC-3859-48A6-9E4D-9C49887B00C8}" dt="2023-02-03T00:49:10.659" v="7207"/>
          <ac:spMkLst>
            <pc:docMk/>
            <pc:sldMk cId="2186731111" sldId="281"/>
            <ac:spMk id="8" creationId="{492DA813-CB1F-49CB-AFB0-10703A58E647}"/>
          </ac:spMkLst>
        </pc:spChg>
        <pc:spChg chg="del">
          <ac:chgData name="Umholtz, Jake" userId="68c67aa9-53c4-4aab-a03d-c07f0aadf984" providerId="ADAL" clId="{E8B9A4AC-3859-48A6-9E4D-9C49887B00C8}" dt="2023-02-03T00:41:26.792" v="6669" actId="478"/>
          <ac:spMkLst>
            <pc:docMk/>
            <pc:sldMk cId="2186731111" sldId="281"/>
            <ac:spMk id="25" creationId="{0792CD95-C93C-429D-90F9-A3839E796765}"/>
          </ac:spMkLst>
        </pc:spChg>
        <pc:spChg chg="add mod">
          <ac:chgData name="Umholtz, Jake" userId="68c67aa9-53c4-4aab-a03d-c07f0aadf984" providerId="ADAL" clId="{E8B9A4AC-3859-48A6-9E4D-9C49887B00C8}" dt="2023-02-03T00:41:24.503" v="6668"/>
          <ac:spMkLst>
            <pc:docMk/>
            <pc:sldMk cId="2186731111" sldId="281"/>
            <ac:spMk id="27" creationId="{C5827E62-F4D9-4EC1-972F-79D9F2B21087}"/>
          </ac:spMkLst>
        </pc:spChg>
        <pc:spChg chg="add mod">
          <ac:chgData name="Umholtz, Jake" userId="68c67aa9-53c4-4aab-a03d-c07f0aadf984" providerId="ADAL" clId="{E8B9A4AC-3859-48A6-9E4D-9C49887B00C8}" dt="2023-02-03T00:41:24.503" v="6668"/>
          <ac:spMkLst>
            <pc:docMk/>
            <pc:sldMk cId="2186731111" sldId="281"/>
            <ac:spMk id="28" creationId="{3B84ED9A-BDA4-4854-8D9C-53B7C5009E50}"/>
          </ac:spMkLst>
        </pc:spChg>
        <pc:spChg chg="mod">
          <ac:chgData name="Umholtz, Jake" userId="68c67aa9-53c4-4aab-a03d-c07f0aadf984" providerId="ADAL" clId="{E8B9A4AC-3859-48A6-9E4D-9C49887B00C8}" dt="2023-02-03T00:42:58.165" v="6774" actId="164"/>
          <ac:spMkLst>
            <pc:docMk/>
            <pc:sldMk cId="2186731111" sldId="281"/>
            <ac:spMk id="29" creationId="{18505A1F-20ED-4B1C-B58C-C464FE0E1DC8}"/>
          </ac:spMkLst>
        </pc:spChg>
        <pc:spChg chg="mod">
          <ac:chgData name="Umholtz, Jake" userId="68c67aa9-53c4-4aab-a03d-c07f0aadf984" providerId="ADAL" clId="{E8B9A4AC-3859-48A6-9E4D-9C49887B00C8}" dt="2023-02-03T00:43:25.412" v="6801" actId="403"/>
          <ac:spMkLst>
            <pc:docMk/>
            <pc:sldMk cId="2186731111" sldId="281"/>
            <ac:spMk id="31" creationId="{BF82051D-8009-45E8-8F0F-036D1679038F}"/>
          </ac:spMkLst>
        </pc:spChg>
        <pc:spChg chg="add mod">
          <ac:chgData name="Umholtz, Jake" userId="68c67aa9-53c4-4aab-a03d-c07f0aadf984" providerId="ADAL" clId="{E8B9A4AC-3859-48A6-9E4D-9C49887B00C8}" dt="2023-02-03T00:42:51.236" v="6773" actId="571"/>
          <ac:spMkLst>
            <pc:docMk/>
            <pc:sldMk cId="2186731111" sldId="281"/>
            <ac:spMk id="33" creationId="{200FA133-6B70-49BD-9A35-C6FFB0CC5EE5}"/>
          </ac:spMkLst>
        </pc:spChg>
        <pc:spChg chg="mod">
          <ac:chgData name="Umholtz, Jake" userId="68c67aa9-53c4-4aab-a03d-c07f0aadf984" providerId="ADAL" clId="{E8B9A4AC-3859-48A6-9E4D-9C49887B00C8}" dt="2023-02-03T00:52:51.070" v="7388" actId="113"/>
          <ac:spMkLst>
            <pc:docMk/>
            <pc:sldMk cId="2186731111" sldId="281"/>
            <ac:spMk id="35" creationId="{86C70B0B-FA6D-43E8-97E0-3C9185900AC9}"/>
          </ac:spMkLst>
        </pc:spChg>
        <pc:spChg chg="mod">
          <ac:chgData name="Umholtz, Jake" userId="68c67aa9-53c4-4aab-a03d-c07f0aadf984" providerId="ADAL" clId="{E8B9A4AC-3859-48A6-9E4D-9C49887B00C8}" dt="2023-02-03T00:49:36.484" v="7227" actId="20577"/>
          <ac:spMkLst>
            <pc:docMk/>
            <pc:sldMk cId="2186731111" sldId="281"/>
            <ac:spMk id="36" creationId="{30977A92-4517-4268-A686-1BF364FA9E13}"/>
          </ac:spMkLst>
        </pc:spChg>
        <pc:spChg chg="mod">
          <ac:chgData name="Umholtz, Jake" userId="68c67aa9-53c4-4aab-a03d-c07f0aadf984" providerId="ADAL" clId="{E8B9A4AC-3859-48A6-9E4D-9C49887B00C8}" dt="2023-02-03T00:45:34.993" v="6882" actId="403"/>
          <ac:spMkLst>
            <pc:docMk/>
            <pc:sldMk cId="2186731111" sldId="281"/>
            <ac:spMk id="49" creationId="{C8F23EE7-AB28-40EE-978D-9C5F66A46356}"/>
          </ac:spMkLst>
        </pc:spChg>
        <pc:spChg chg="mod">
          <ac:chgData name="Umholtz, Jake" userId="68c67aa9-53c4-4aab-a03d-c07f0aadf984" providerId="ADAL" clId="{E8B9A4AC-3859-48A6-9E4D-9C49887B00C8}" dt="2023-02-03T00:42:58.165" v="6774" actId="164"/>
          <ac:spMkLst>
            <pc:docMk/>
            <pc:sldMk cId="2186731111" sldId="281"/>
            <ac:spMk id="50" creationId="{3B296F4F-B695-40A5-A8AB-22654B46C836}"/>
          </ac:spMkLst>
        </pc:spChg>
        <pc:spChg chg="mod">
          <ac:chgData name="Umholtz, Jake" userId="68c67aa9-53c4-4aab-a03d-c07f0aadf984" providerId="ADAL" clId="{E8B9A4AC-3859-48A6-9E4D-9C49887B00C8}" dt="2023-02-03T00:43:28.988" v="6802" actId="403"/>
          <ac:spMkLst>
            <pc:docMk/>
            <pc:sldMk cId="2186731111" sldId="281"/>
            <ac:spMk id="54" creationId="{62436E40-252D-420F-813F-692EBA39EC3B}"/>
          </ac:spMkLst>
        </pc:spChg>
        <pc:spChg chg="mod">
          <ac:chgData name="Umholtz, Jake" userId="68c67aa9-53c4-4aab-a03d-c07f0aadf984" providerId="ADAL" clId="{E8B9A4AC-3859-48A6-9E4D-9C49887B00C8}" dt="2023-02-03T00:46:40.193" v="7050" actId="5793"/>
          <ac:spMkLst>
            <pc:docMk/>
            <pc:sldMk cId="2186731111" sldId="281"/>
            <ac:spMk id="62" creationId="{13B65EFE-B5CA-4188-859A-A0324D09EC6F}"/>
          </ac:spMkLst>
        </pc:spChg>
        <pc:spChg chg="mod">
          <ac:chgData name="Umholtz, Jake" userId="68c67aa9-53c4-4aab-a03d-c07f0aadf984" providerId="ADAL" clId="{E8B9A4AC-3859-48A6-9E4D-9C49887B00C8}" dt="2023-02-03T00:42:58.165" v="6774" actId="164"/>
          <ac:spMkLst>
            <pc:docMk/>
            <pc:sldMk cId="2186731111" sldId="281"/>
            <ac:spMk id="63" creationId="{EE4CCC41-2D7A-4E7C-90ED-3B56625E296B}"/>
          </ac:spMkLst>
        </pc:spChg>
        <pc:spChg chg="mod">
          <ac:chgData name="Umholtz, Jake" userId="68c67aa9-53c4-4aab-a03d-c07f0aadf984" providerId="ADAL" clId="{E8B9A4AC-3859-48A6-9E4D-9C49887B00C8}" dt="2023-02-03T00:42:58.165" v="6774" actId="164"/>
          <ac:spMkLst>
            <pc:docMk/>
            <pc:sldMk cId="2186731111" sldId="281"/>
            <ac:spMk id="64" creationId="{A50E4562-A4C1-4501-BDA8-5BAEB6931FE9}"/>
          </ac:spMkLst>
        </pc:spChg>
        <pc:spChg chg="mod">
          <ac:chgData name="Umholtz, Jake" userId="68c67aa9-53c4-4aab-a03d-c07f0aadf984" providerId="ADAL" clId="{E8B9A4AC-3859-48A6-9E4D-9C49887B00C8}" dt="2023-02-03T00:43:31.840" v="6803" actId="403"/>
          <ac:spMkLst>
            <pc:docMk/>
            <pc:sldMk cId="2186731111" sldId="281"/>
            <ac:spMk id="66" creationId="{236130AE-09A7-4B94-AA3E-B34C36F8887E}"/>
          </ac:spMkLst>
        </pc:spChg>
        <pc:spChg chg="mod">
          <ac:chgData name="Umholtz, Jake" userId="68c67aa9-53c4-4aab-a03d-c07f0aadf984" providerId="ADAL" clId="{E8B9A4AC-3859-48A6-9E4D-9C49887B00C8}" dt="2023-02-03T00:47:34.393" v="7205" actId="33524"/>
          <ac:spMkLst>
            <pc:docMk/>
            <pc:sldMk cId="2186731111" sldId="281"/>
            <ac:spMk id="69" creationId="{4F71D54A-649C-429D-A824-5C12F8D687BC}"/>
          </ac:spMkLst>
        </pc:spChg>
        <pc:spChg chg="mod">
          <ac:chgData name="Umholtz, Jake" userId="68c67aa9-53c4-4aab-a03d-c07f0aadf984" providerId="ADAL" clId="{E8B9A4AC-3859-48A6-9E4D-9C49887B00C8}" dt="2023-02-03T00:42:58.165" v="6774" actId="164"/>
          <ac:spMkLst>
            <pc:docMk/>
            <pc:sldMk cId="2186731111" sldId="281"/>
            <ac:spMk id="70" creationId="{6FC7EAE0-80ED-4C04-891F-6310A53F39E3}"/>
          </ac:spMkLst>
        </pc:spChg>
        <pc:grpChg chg="add mod">
          <ac:chgData name="Umholtz, Jake" userId="68c67aa9-53c4-4aab-a03d-c07f0aadf984" providerId="ADAL" clId="{E8B9A4AC-3859-48A6-9E4D-9C49887B00C8}" dt="2023-02-03T00:43:58.276" v="6804" actId="1076"/>
          <ac:grpSpMkLst>
            <pc:docMk/>
            <pc:sldMk cId="2186731111" sldId="281"/>
            <ac:grpSpMk id="5" creationId="{9723298E-3006-4505-8E3D-2A8AE304CC80}"/>
          </ac:grpSpMkLst>
        </pc:grpChg>
        <pc:grpChg chg="mod">
          <ac:chgData name="Umholtz, Jake" userId="68c67aa9-53c4-4aab-a03d-c07f0aadf984" providerId="ADAL" clId="{E8B9A4AC-3859-48A6-9E4D-9C49887B00C8}" dt="2023-02-03T00:42:58.165" v="6774" actId="164"/>
          <ac:grpSpMkLst>
            <pc:docMk/>
            <pc:sldMk cId="2186731111" sldId="281"/>
            <ac:grpSpMk id="30" creationId="{782C15EE-700A-44D0-97B8-73665D0DC6EF}"/>
          </ac:grpSpMkLst>
        </pc:grpChg>
        <pc:grpChg chg="add mod">
          <ac:chgData name="Umholtz, Jake" userId="68c67aa9-53c4-4aab-a03d-c07f0aadf984" providerId="ADAL" clId="{E8B9A4AC-3859-48A6-9E4D-9C49887B00C8}" dt="2023-02-03T00:52:42.642" v="7387" actId="14100"/>
          <ac:grpSpMkLst>
            <pc:docMk/>
            <pc:sldMk cId="2186731111" sldId="281"/>
            <ac:grpSpMk id="34" creationId="{718BE508-6863-47D2-8CB5-456F3F46A175}"/>
          </ac:grpSpMkLst>
        </pc:grpChg>
        <pc:grpChg chg="mod">
          <ac:chgData name="Umholtz, Jake" userId="68c67aa9-53c4-4aab-a03d-c07f0aadf984" providerId="ADAL" clId="{E8B9A4AC-3859-48A6-9E4D-9C49887B00C8}" dt="2023-02-03T00:42:58.165" v="6774" actId="164"/>
          <ac:grpSpMkLst>
            <pc:docMk/>
            <pc:sldMk cId="2186731111" sldId="281"/>
            <ac:grpSpMk id="53" creationId="{693BE1CA-9A2F-443D-BC96-9A8BF0E7A0CB}"/>
          </ac:grpSpMkLst>
        </pc:grpChg>
        <pc:grpChg chg="mod">
          <ac:chgData name="Umholtz, Jake" userId="68c67aa9-53c4-4aab-a03d-c07f0aadf984" providerId="ADAL" clId="{E8B9A4AC-3859-48A6-9E4D-9C49887B00C8}" dt="2023-02-03T00:42:58.165" v="6774" actId="164"/>
          <ac:grpSpMkLst>
            <pc:docMk/>
            <pc:sldMk cId="2186731111" sldId="281"/>
            <ac:grpSpMk id="65" creationId="{774AF6F7-2457-4A8A-93B4-E98846CA96FD}"/>
          </ac:grpSpMkLst>
        </pc:grpChg>
      </pc:sldChg>
      <pc:sldChg chg="addSp delSp modSp del mod ord">
        <pc:chgData name="Umholtz, Jake" userId="68c67aa9-53c4-4aab-a03d-c07f0aadf984" providerId="ADAL" clId="{E8B9A4AC-3859-48A6-9E4D-9C49887B00C8}" dt="2023-02-03T00:34:38.963" v="6631" actId="47"/>
        <pc:sldMkLst>
          <pc:docMk/>
          <pc:sldMk cId="1714877050" sldId="367"/>
        </pc:sldMkLst>
        <pc:spChg chg="mod">
          <ac:chgData name="Umholtz, Jake" userId="68c67aa9-53c4-4aab-a03d-c07f0aadf984" providerId="ADAL" clId="{E8B9A4AC-3859-48A6-9E4D-9C49887B00C8}" dt="2023-01-27T19:57:20.962" v="4370"/>
          <ac:spMkLst>
            <pc:docMk/>
            <pc:sldMk cId="1714877050" sldId="367"/>
            <ac:spMk id="3" creationId="{00000000-0000-0000-0000-000000000000}"/>
          </ac:spMkLst>
        </pc:spChg>
        <pc:spChg chg="mod">
          <ac:chgData name="Umholtz, Jake" userId="68c67aa9-53c4-4aab-a03d-c07f0aadf984" providerId="ADAL" clId="{E8B9A4AC-3859-48A6-9E4D-9C49887B00C8}" dt="2023-01-27T19:57:32.293" v="4389" actId="20577"/>
          <ac:spMkLst>
            <pc:docMk/>
            <pc:sldMk cId="1714877050" sldId="367"/>
            <ac:spMk id="4" creationId="{00000000-0000-0000-0000-000000000000}"/>
          </ac:spMkLst>
        </pc:spChg>
        <pc:spChg chg="add mod">
          <ac:chgData name="Umholtz, Jake" userId="68c67aa9-53c4-4aab-a03d-c07f0aadf984" providerId="ADAL" clId="{E8B9A4AC-3859-48A6-9E4D-9C49887B00C8}" dt="2023-01-27T19:58:56.835" v="4562" actId="164"/>
          <ac:spMkLst>
            <pc:docMk/>
            <pc:sldMk cId="1714877050" sldId="367"/>
            <ac:spMk id="23" creationId="{2A2A7147-37DB-454D-82F9-097C8966DB23}"/>
          </ac:spMkLst>
        </pc:spChg>
        <pc:spChg chg="del">
          <ac:chgData name="Umholtz, Jake" userId="68c67aa9-53c4-4aab-a03d-c07f0aadf984" providerId="ADAL" clId="{E8B9A4AC-3859-48A6-9E4D-9C49887B00C8}" dt="2023-01-27T19:55:53.562" v="4356" actId="478"/>
          <ac:spMkLst>
            <pc:docMk/>
            <pc:sldMk cId="1714877050" sldId="367"/>
            <ac:spMk id="24" creationId="{00000000-0000-0000-0000-000000000000}"/>
          </ac:spMkLst>
        </pc:spChg>
        <pc:spChg chg="del">
          <ac:chgData name="Umholtz, Jake" userId="68c67aa9-53c4-4aab-a03d-c07f0aadf984" providerId="ADAL" clId="{E8B9A4AC-3859-48A6-9E4D-9C49887B00C8}" dt="2023-01-27T19:55:56.643" v="4357" actId="478"/>
          <ac:spMkLst>
            <pc:docMk/>
            <pc:sldMk cId="1714877050" sldId="367"/>
            <ac:spMk id="25" creationId="{00000000-0000-0000-0000-000000000000}"/>
          </ac:spMkLst>
        </pc:spChg>
        <pc:spChg chg="del">
          <ac:chgData name="Umholtz, Jake" userId="68c67aa9-53c4-4aab-a03d-c07f0aadf984" providerId="ADAL" clId="{E8B9A4AC-3859-48A6-9E4D-9C49887B00C8}" dt="2023-01-27T19:55:50.251" v="4355" actId="478"/>
          <ac:spMkLst>
            <pc:docMk/>
            <pc:sldMk cId="1714877050" sldId="367"/>
            <ac:spMk id="26" creationId="{00000000-0000-0000-0000-000000000000}"/>
          </ac:spMkLst>
        </pc:spChg>
        <pc:spChg chg="add mod">
          <ac:chgData name="Umholtz, Jake" userId="68c67aa9-53c4-4aab-a03d-c07f0aadf984" providerId="ADAL" clId="{E8B9A4AC-3859-48A6-9E4D-9C49887B00C8}" dt="2023-01-27T19:58:56.835" v="4562" actId="164"/>
          <ac:spMkLst>
            <pc:docMk/>
            <pc:sldMk cId="1714877050" sldId="367"/>
            <ac:spMk id="27" creationId="{BBFACE92-8D18-451B-BC69-D23960074CDA}"/>
          </ac:spMkLst>
        </pc:spChg>
        <pc:spChg chg="add mod">
          <ac:chgData name="Umholtz, Jake" userId="68c67aa9-53c4-4aab-a03d-c07f0aadf984" providerId="ADAL" clId="{E8B9A4AC-3859-48A6-9E4D-9C49887B00C8}" dt="2023-01-27T19:58:56.835" v="4562" actId="164"/>
          <ac:spMkLst>
            <pc:docMk/>
            <pc:sldMk cId="1714877050" sldId="367"/>
            <ac:spMk id="28" creationId="{E0087B1B-87E5-446B-B25A-B2622B140553}"/>
          </ac:spMkLst>
        </pc:spChg>
        <pc:spChg chg="mod">
          <ac:chgData name="Umholtz, Jake" userId="68c67aa9-53c4-4aab-a03d-c07f0aadf984" providerId="ADAL" clId="{E8B9A4AC-3859-48A6-9E4D-9C49887B00C8}" dt="2023-01-27T19:58:02.334" v="4428" actId="5793"/>
          <ac:spMkLst>
            <pc:docMk/>
            <pc:sldMk cId="1714877050" sldId="367"/>
            <ac:spMk id="29" creationId="{00000000-0000-0000-0000-000000000000}"/>
          </ac:spMkLst>
        </pc:spChg>
        <pc:spChg chg="del">
          <ac:chgData name="Umholtz, Jake" userId="68c67aa9-53c4-4aab-a03d-c07f0aadf984" providerId="ADAL" clId="{E8B9A4AC-3859-48A6-9E4D-9C49887B00C8}" dt="2023-01-27T19:55:53.562" v="4356" actId="478"/>
          <ac:spMkLst>
            <pc:docMk/>
            <pc:sldMk cId="1714877050" sldId="367"/>
            <ac:spMk id="30" creationId="{00000000-0000-0000-0000-000000000000}"/>
          </ac:spMkLst>
        </pc:spChg>
        <pc:spChg chg="mod">
          <ac:chgData name="Umholtz, Jake" userId="68c67aa9-53c4-4aab-a03d-c07f0aadf984" providerId="ADAL" clId="{E8B9A4AC-3859-48A6-9E4D-9C49887B00C8}" dt="2023-01-27T19:57:41.301" v="4391" actId="1076"/>
          <ac:spMkLst>
            <pc:docMk/>
            <pc:sldMk cId="1714877050" sldId="367"/>
            <ac:spMk id="31" creationId="{00000000-0000-0000-0000-000000000000}"/>
          </ac:spMkLst>
        </pc:spChg>
        <pc:spChg chg="add del mod ord">
          <ac:chgData name="Umholtz, Jake" userId="68c67aa9-53c4-4aab-a03d-c07f0aadf984" providerId="ADAL" clId="{E8B9A4AC-3859-48A6-9E4D-9C49887B00C8}" dt="2023-01-27T19:58:15.491" v="4480" actId="478"/>
          <ac:spMkLst>
            <pc:docMk/>
            <pc:sldMk cId="1714877050" sldId="367"/>
            <ac:spMk id="32" creationId="{D7275BC2-F4B8-470D-9ECF-10F71085A86E}"/>
          </ac:spMkLst>
        </pc:spChg>
        <pc:spChg chg="add mod">
          <ac:chgData name="Umholtz, Jake" userId="68c67aa9-53c4-4aab-a03d-c07f0aadf984" providerId="ADAL" clId="{E8B9A4AC-3859-48A6-9E4D-9C49887B00C8}" dt="2023-01-27T19:58:56.835" v="4562" actId="164"/>
          <ac:spMkLst>
            <pc:docMk/>
            <pc:sldMk cId="1714877050" sldId="367"/>
            <ac:spMk id="33" creationId="{4DB323C8-75C2-47D3-88D4-1A26C8082D21}"/>
          </ac:spMkLst>
        </pc:spChg>
        <pc:spChg chg="mod">
          <ac:chgData name="Umholtz, Jake" userId="68c67aa9-53c4-4aab-a03d-c07f0aadf984" providerId="ADAL" clId="{E8B9A4AC-3859-48A6-9E4D-9C49887B00C8}" dt="2023-01-27T19:58:58.113" v="4563"/>
          <ac:spMkLst>
            <pc:docMk/>
            <pc:sldMk cId="1714877050" sldId="367"/>
            <ac:spMk id="35" creationId="{EA1EC83A-321E-4156-A67B-AA3046C4C21A}"/>
          </ac:spMkLst>
        </pc:spChg>
        <pc:spChg chg="mod">
          <ac:chgData name="Umholtz, Jake" userId="68c67aa9-53c4-4aab-a03d-c07f0aadf984" providerId="ADAL" clId="{E8B9A4AC-3859-48A6-9E4D-9C49887B00C8}" dt="2023-01-27T19:58:58.113" v="4563"/>
          <ac:spMkLst>
            <pc:docMk/>
            <pc:sldMk cId="1714877050" sldId="367"/>
            <ac:spMk id="36" creationId="{439975B9-669B-41EC-A6AC-21C51A1BE3FA}"/>
          </ac:spMkLst>
        </pc:spChg>
        <pc:spChg chg="mod">
          <ac:chgData name="Umholtz, Jake" userId="68c67aa9-53c4-4aab-a03d-c07f0aadf984" providerId="ADAL" clId="{E8B9A4AC-3859-48A6-9E4D-9C49887B00C8}" dt="2023-01-27T19:58:58.113" v="4563"/>
          <ac:spMkLst>
            <pc:docMk/>
            <pc:sldMk cId="1714877050" sldId="367"/>
            <ac:spMk id="37" creationId="{FDBA5741-F43D-4254-885D-9A7210897E38}"/>
          </ac:spMkLst>
        </pc:spChg>
        <pc:spChg chg="mod">
          <ac:chgData name="Umholtz, Jake" userId="68c67aa9-53c4-4aab-a03d-c07f0aadf984" providerId="ADAL" clId="{E8B9A4AC-3859-48A6-9E4D-9C49887B00C8}" dt="2023-01-27T19:59:13.360" v="4579" actId="1076"/>
          <ac:spMkLst>
            <pc:docMk/>
            <pc:sldMk cId="1714877050" sldId="367"/>
            <ac:spMk id="38" creationId="{B7CC6A85-69BD-4E58-A6ED-16ABC69F44D6}"/>
          </ac:spMkLst>
        </pc:spChg>
        <pc:spChg chg="add mod">
          <ac:chgData name="Umholtz, Jake" userId="68c67aa9-53c4-4aab-a03d-c07f0aadf984" providerId="ADAL" clId="{E8B9A4AC-3859-48A6-9E4D-9C49887B00C8}" dt="2023-01-27T19:59:35.283" v="4608" actId="20577"/>
          <ac:spMkLst>
            <pc:docMk/>
            <pc:sldMk cId="1714877050" sldId="367"/>
            <ac:spMk id="39" creationId="{5E998524-27CE-4D44-B11D-3DFB97F3C12A}"/>
          </ac:spMkLst>
        </pc:spChg>
        <pc:grpChg chg="add mod">
          <ac:chgData name="Umholtz, Jake" userId="68c67aa9-53c4-4aab-a03d-c07f0aadf984" providerId="ADAL" clId="{E8B9A4AC-3859-48A6-9E4D-9C49887B00C8}" dt="2023-01-27T19:58:56.835" v="4562" actId="164"/>
          <ac:grpSpMkLst>
            <pc:docMk/>
            <pc:sldMk cId="1714877050" sldId="367"/>
            <ac:grpSpMk id="2" creationId="{AEF48291-B7F3-49DF-B713-CF1D7D9082DD}"/>
          </ac:grpSpMkLst>
        </pc:grpChg>
        <pc:grpChg chg="add mod">
          <ac:chgData name="Umholtz, Jake" userId="68c67aa9-53c4-4aab-a03d-c07f0aadf984" providerId="ADAL" clId="{E8B9A4AC-3859-48A6-9E4D-9C49887B00C8}" dt="2023-01-27T19:59:01.315" v="4564" actId="1076"/>
          <ac:grpSpMkLst>
            <pc:docMk/>
            <pc:sldMk cId="1714877050" sldId="367"/>
            <ac:grpSpMk id="34" creationId="{8A9F7507-9D54-46F1-A104-D85434B6272F}"/>
          </ac:grpSpMkLst>
        </pc:grpChg>
        <pc:grpChg chg="mod">
          <ac:chgData name="Umholtz, Jake" userId="68c67aa9-53c4-4aab-a03d-c07f0aadf984" providerId="ADAL" clId="{E8B9A4AC-3859-48A6-9E4D-9C49887B00C8}" dt="2023-01-27T19:59:03.852" v="4565" actId="1076"/>
          <ac:grpSpMkLst>
            <pc:docMk/>
            <pc:sldMk cId="1714877050" sldId="367"/>
            <ac:grpSpMk id="54" creationId="{DED01470-17A4-4620-81E3-90DDF02327FD}"/>
          </ac:grpSpMkLst>
        </pc:grpChg>
        <pc:grpChg chg="del">
          <ac:chgData name="Umholtz, Jake" userId="68c67aa9-53c4-4aab-a03d-c07f0aadf984" providerId="ADAL" clId="{E8B9A4AC-3859-48A6-9E4D-9C49887B00C8}" dt="2023-01-27T19:55:50.251" v="4355" actId="478"/>
          <ac:grpSpMkLst>
            <pc:docMk/>
            <pc:sldMk cId="1714877050" sldId="367"/>
            <ac:grpSpMk id="59" creationId="{933E759B-CB04-4E68-8FFA-7B5B90D44643}"/>
          </ac:grpSpMkLst>
        </pc:grpChg>
      </pc:sldChg>
      <pc:sldChg chg="add del">
        <pc:chgData name="Umholtz, Jake" userId="68c67aa9-53c4-4aab-a03d-c07f0aadf984" providerId="ADAL" clId="{E8B9A4AC-3859-48A6-9E4D-9C49887B00C8}" dt="2023-01-27T18:14:52.071" v="2023"/>
        <pc:sldMkLst>
          <pc:docMk/>
          <pc:sldMk cId="1080290036" sldId="450"/>
        </pc:sldMkLst>
      </pc:sldChg>
      <pc:sldChg chg="del">
        <pc:chgData name="Umholtz, Jake" userId="68c67aa9-53c4-4aab-a03d-c07f0aadf984" providerId="ADAL" clId="{E8B9A4AC-3859-48A6-9E4D-9C49887B00C8}" dt="2023-02-03T00:35:02.980" v="6637" actId="47"/>
        <pc:sldMkLst>
          <pc:docMk/>
          <pc:sldMk cId="870859583" sldId="453"/>
        </pc:sldMkLst>
      </pc:sldChg>
      <pc:sldChg chg="del">
        <pc:chgData name="Umholtz, Jake" userId="68c67aa9-53c4-4aab-a03d-c07f0aadf984" providerId="ADAL" clId="{E8B9A4AC-3859-48A6-9E4D-9C49887B00C8}" dt="2023-02-03T00:35:02.056" v="6636" actId="47"/>
        <pc:sldMkLst>
          <pc:docMk/>
          <pc:sldMk cId="1073662527" sldId="461"/>
        </pc:sldMkLst>
      </pc:sldChg>
      <pc:sldChg chg="addSp delSp modSp add del modNotes">
        <pc:chgData name="Umholtz, Jake" userId="68c67aa9-53c4-4aab-a03d-c07f0aadf984" providerId="ADAL" clId="{E8B9A4AC-3859-48A6-9E4D-9C49887B00C8}" dt="2023-01-27T19:13:51.311" v="3059" actId="47"/>
        <pc:sldMkLst>
          <pc:docMk/>
          <pc:sldMk cId="3433973744" sldId="492"/>
        </pc:sldMkLst>
        <pc:spChg chg="add del mod">
          <ac:chgData name="Umholtz, Jake" userId="68c67aa9-53c4-4aab-a03d-c07f0aadf984" providerId="ADAL" clId="{E8B9A4AC-3859-48A6-9E4D-9C49887B00C8}" dt="2023-01-27T18:16:44.972" v="2026"/>
          <ac:spMkLst>
            <pc:docMk/>
            <pc:sldMk cId="3433973744" sldId="492"/>
            <ac:spMk id="19" creationId="{B8370A71-6B20-4D38-B3DB-9E8A12BC20C0}"/>
          </ac:spMkLst>
        </pc:spChg>
        <pc:spChg chg="add del mod">
          <ac:chgData name="Umholtz, Jake" userId="68c67aa9-53c4-4aab-a03d-c07f0aadf984" providerId="ADAL" clId="{E8B9A4AC-3859-48A6-9E4D-9C49887B00C8}" dt="2023-01-27T18:16:44.972" v="2026"/>
          <ac:spMkLst>
            <pc:docMk/>
            <pc:sldMk cId="3433973744" sldId="492"/>
            <ac:spMk id="20" creationId="{5970003F-2361-45EC-8446-14EDBB3CD983}"/>
          </ac:spMkLst>
        </pc:spChg>
      </pc:sldChg>
      <pc:sldChg chg="add del">
        <pc:chgData name="Umholtz, Jake" userId="68c67aa9-53c4-4aab-a03d-c07f0aadf984" providerId="ADAL" clId="{E8B9A4AC-3859-48A6-9E4D-9C49887B00C8}" dt="2023-01-27T19:45:18.613" v="4174" actId="47"/>
        <pc:sldMkLst>
          <pc:docMk/>
          <pc:sldMk cId="2321779834" sldId="499"/>
        </pc:sldMkLst>
      </pc:sldChg>
      <pc:sldChg chg="del">
        <pc:chgData name="Umholtz, Jake" userId="68c67aa9-53c4-4aab-a03d-c07f0aadf984" providerId="ADAL" clId="{E8B9A4AC-3859-48A6-9E4D-9C49887B00C8}" dt="2023-02-03T00:35:05.141" v="6639" actId="47"/>
        <pc:sldMkLst>
          <pc:docMk/>
          <pc:sldMk cId="922478694" sldId="609"/>
        </pc:sldMkLst>
      </pc:sldChg>
      <pc:sldChg chg="addSp delSp modSp mod modNotesTx">
        <pc:chgData name="Umholtz, Jake" userId="68c67aa9-53c4-4aab-a03d-c07f0aadf984" providerId="ADAL" clId="{E8B9A4AC-3859-48A6-9E4D-9C49887B00C8}" dt="2023-01-27T16:34:15.337" v="312" actId="1076"/>
        <pc:sldMkLst>
          <pc:docMk/>
          <pc:sldMk cId="4228642639" sldId="674"/>
        </pc:sldMkLst>
        <pc:spChg chg="mod">
          <ac:chgData name="Umholtz, Jake" userId="68c67aa9-53c4-4aab-a03d-c07f0aadf984" providerId="ADAL" clId="{E8B9A4AC-3859-48A6-9E4D-9C49887B00C8}" dt="2023-01-27T16:26:06.755" v="269" actId="207"/>
          <ac:spMkLst>
            <pc:docMk/>
            <pc:sldMk cId="4228642639" sldId="674"/>
            <ac:spMk id="2" creationId="{1A53A8AD-38C0-4854-81B3-9B99B4E007ED}"/>
          </ac:spMkLst>
        </pc:spChg>
        <pc:spChg chg="mod">
          <ac:chgData name="Umholtz, Jake" userId="68c67aa9-53c4-4aab-a03d-c07f0aadf984" providerId="ADAL" clId="{E8B9A4AC-3859-48A6-9E4D-9C49887B00C8}" dt="2023-01-27T16:10:04.272" v="71" actId="2711"/>
          <ac:spMkLst>
            <pc:docMk/>
            <pc:sldMk cId="4228642639" sldId="674"/>
            <ac:spMk id="5" creationId="{00000000-0000-0000-0000-000000000000}"/>
          </ac:spMkLst>
        </pc:spChg>
        <pc:spChg chg="add del mod ord">
          <ac:chgData name="Umholtz, Jake" userId="68c67aa9-53c4-4aab-a03d-c07f0aadf984" providerId="ADAL" clId="{E8B9A4AC-3859-48A6-9E4D-9C49887B00C8}" dt="2023-01-27T16:27:55.130" v="279" actId="478"/>
          <ac:spMkLst>
            <pc:docMk/>
            <pc:sldMk cId="4228642639" sldId="674"/>
            <ac:spMk id="12" creationId="{3B27BBB1-DF3D-4BD5-AA06-CB0B871495A9}"/>
          </ac:spMkLst>
        </pc:spChg>
        <pc:picChg chg="del">
          <ac:chgData name="Umholtz, Jake" userId="68c67aa9-53c4-4aab-a03d-c07f0aadf984" providerId="ADAL" clId="{E8B9A4AC-3859-48A6-9E4D-9C49887B00C8}" dt="2023-01-27T15:45:50.857" v="44" actId="478"/>
          <ac:picMkLst>
            <pc:docMk/>
            <pc:sldMk cId="4228642639" sldId="674"/>
            <ac:picMk id="4" creationId="{23F709F7-E7F6-4C9F-A786-7C9CB6D933E9}"/>
          </ac:picMkLst>
        </pc:picChg>
        <pc:picChg chg="add del mod modCrop">
          <ac:chgData name="Umholtz, Jake" userId="68c67aa9-53c4-4aab-a03d-c07f0aadf984" providerId="ADAL" clId="{E8B9A4AC-3859-48A6-9E4D-9C49887B00C8}" dt="2023-01-27T15:48:12.202" v="50" actId="478"/>
          <ac:picMkLst>
            <pc:docMk/>
            <pc:sldMk cId="4228642639" sldId="674"/>
            <ac:picMk id="6" creationId="{3DD5A1B6-0313-43A6-B3F8-E12754474982}"/>
          </ac:picMkLst>
        </pc:picChg>
        <pc:picChg chg="add del mod">
          <ac:chgData name="Umholtz, Jake" userId="68c67aa9-53c4-4aab-a03d-c07f0aadf984" providerId="ADAL" clId="{E8B9A4AC-3859-48A6-9E4D-9C49887B00C8}" dt="2023-01-27T15:52:39.413" v="52" actId="478"/>
          <ac:picMkLst>
            <pc:docMk/>
            <pc:sldMk cId="4228642639" sldId="674"/>
            <ac:picMk id="8" creationId="{C62F97D5-DE88-4721-A8FB-2BA4D3F3CE8E}"/>
          </ac:picMkLst>
        </pc:picChg>
        <pc:picChg chg="add mod modCrop">
          <ac:chgData name="Umholtz, Jake" userId="68c67aa9-53c4-4aab-a03d-c07f0aadf984" providerId="ADAL" clId="{E8B9A4AC-3859-48A6-9E4D-9C49887B00C8}" dt="2023-01-27T16:34:15.337" v="312" actId="1076"/>
          <ac:picMkLst>
            <pc:docMk/>
            <pc:sldMk cId="4228642639" sldId="674"/>
            <ac:picMk id="11" creationId="{1D0A60AF-1142-497E-AB79-C4FA9931AAFD}"/>
          </ac:picMkLst>
        </pc:picChg>
        <pc:picChg chg="add del mod">
          <ac:chgData name="Umholtz, Jake" userId="68c67aa9-53c4-4aab-a03d-c07f0aadf984" providerId="ADAL" clId="{E8B9A4AC-3859-48A6-9E4D-9C49887B00C8}" dt="2023-01-27T16:26:58.586" v="275" actId="478"/>
          <ac:picMkLst>
            <pc:docMk/>
            <pc:sldMk cId="4228642639" sldId="674"/>
            <ac:picMk id="14" creationId="{CB012342-F74B-48A2-BC46-8E80D80E8C9B}"/>
          </ac:picMkLst>
        </pc:picChg>
      </pc:sldChg>
      <pc:sldChg chg="addSp delSp modSp mod modNotes modNotesTx">
        <pc:chgData name="Umholtz, Jake" userId="68c67aa9-53c4-4aab-a03d-c07f0aadf984" providerId="ADAL" clId="{E8B9A4AC-3859-48A6-9E4D-9C49887B00C8}" dt="2023-02-02T23:47:53.247" v="5940" actId="20577"/>
        <pc:sldMkLst>
          <pc:docMk/>
          <pc:sldMk cId="4141369604" sldId="675"/>
        </pc:sldMkLst>
        <pc:spChg chg="mod">
          <ac:chgData name="Umholtz, Jake" userId="68c67aa9-53c4-4aab-a03d-c07f0aadf984" providerId="ADAL" clId="{E8B9A4AC-3859-48A6-9E4D-9C49887B00C8}" dt="2023-02-02T23:36:54.880" v="5382" actId="2711"/>
          <ac:spMkLst>
            <pc:docMk/>
            <pc:sldMk cId="4141369604" sldId="675"/>
            <ac:spMk id="2" creationId="{00000000-0000-0000-0000-000000000000}"/>
          </ac:spMkLst>
        </pc:spChg>
        <pc:spChg chg="mod">
          <ac:chgData name="Umholtz, Jake" userId="68c67aa9-53c4-4aab-a03d-c07f0aadf984" providerId="ADAL" clId="{E8B9A4AC-3859-48A6-9E4D-9C49887B00C8}" dt="2023-01-27T18:05:12.720" v="1760" actId="20577"/>
          <ac:spMkLst>
            <pc:docMk/>
            <pc:sldMk cId="4141369604" sldId="675"/>
            <ac:spMk id="3" creationId="{B3852ADB-BFEF-37E5-D20B-0174468DB396}"/>
          </ac:spMkLst>
        </pc:spChg>
        <pc:spChg chg="add del mod">
          <ac:chgData name="Umholtz, Jake" userId="68c67aa9-53c4-4aab-a03d-c07f0aadf984" providerId="ADAL" clId="{E8B9A4AC-3859-48A6-9E4D-9C49887B00C8}" dt="2023-01-27T18:00:50.504" v="1686" actId="478"/>
          <ac:spMkLst>
            <pc:docMk/>
            <pc:sldMk cId="4141369604" sldId="675"/>
            <ac:spMk id="5" creationId="{6B2E5325-928F-464B-BD53-8A7A25AB9509}"/>
          </ac:spMkLst>
        </pc:spChg>
        <pc:spChg chg="add mod">
          <ac:chgData name="Umholtz, Jake" userId="68c67aa9-53c4-4aab-a03d-c07f0aadf984" providerId="ADAL" clId="{E8B9A4AC-3859-48A6-9E4D-9C49887B00C8}" dt="2023-01-27T18:48:47.917" v="2555" actId="14100"/>
          <ac:spMkLst>
            <pc:docMk/>
            <pc:sldMk cId="4141369604" sldId="675"/>
            <ac:spMk id="14" creationId="{EFD70CC8-B0BD-4469-ACA1-C95A98220CE2}"/>
          </ac:spMkLst>
        </pc:spChg>
        <pc:spChg chg="add mod">
          <ac:chgData name="Umholtz, Jake" userId="68c67aa9-53c4-4aab-a03d-c07f0aadf984" providerId="ADAL" clId="{E8B9A4AC-3859-48A6-9E4D-9C49887B00C8}" dt="2023-01-27T18:48:41.506" v="2554" actId="14100"/>
          <ac:spMkLst>
            <pc:docMk/>
            <pc:sldMk cId="4141369604" sldId="675"/>
            <ac:spMk id="15" creationId="{31885411-B230-4F6A-B8F1-52C9FF8D31D0}"/>
          </ac:spMkLst>
        </pc:spChg>
        <pc:spChg chg="add del mod">
          <ac:chgData name="Umholtz, Jake" userId="68c67aa9-53c4-4aab-a03d-c07f0aadf984" providerId="ADAL" clId="{E8B9A4AC-3859-48A6-9E4D-9C49887B00C8}" dt="2023-01-27T18:20:08.032" v="2132" actId="478"/>
          <ac:spMkLst>
            <pc:docMk/>
            <pc:sldMk cId="4141369604" sldId="675"/>
            <ac:spMk id="22" creationId="{E474F7E4-32BF-4E15-931F-ADA1D3ED1810}"/>
          </ac:spMkLst>
        </pc:spChg>
        <pc:spChg chg="add del mod">
          <ac:chgData name="Umholtz, Jake" userId="68c67aa9-53c4-4aab-a03d-c07f0aadf984" providerId="ADAL" clId="{E8B9A4AC-3859-48A6-9E4D-9C49887B00C8}" dt="2023-01-27T18:20:08.576" v="2133" actId="478"/>
          <ac:spMkLst>
            <pc:docMk/>
            <pc:sldMk cId="4141369604" sldId="675"/>
            <ac:spMk id="23" creationId="{F2CB1B63-B3EF-46FB-9593-5A597273CE97}"/>
          </ac:spMkLst>
        </pc:spChg>
        <pc:spChg chg="add mod topLvl">
          <ac:chgData name="Umholtz, Jake" userId="68c67aa9-53c4-4aab-a03d-c07f0aadf984" providerId="ADAL" clId="{E8B9A4AC-3859-48A6-9E4D-9C49887B00C8}" dt="2023-01-27T18:54:25.639" v="2574" actId="165"/>
          <ac:spMkLst>
            <pc:docMk/>
            <pc:sldMk cId="4141369604" sldId="675"/>
            <ac:spMk id="24" creationId="{E5158854-EA8A-4B3E-AE1E-91001E0806D6}"/>
          </ac:spMkLst>
        </pc:spChg>
        <pc:spChg chg="add mod topLvl">
          <ac:chgData name="Umholtz, Jake" userId="68c67aa9-53c4-4aab-a03d-c07f0aadf984" providerId="ADAL" clId="{E8B9A4AC-3859-48A6-9E4D-9C49887B00C8}" dt="2023-01-27T18:54:25.639" v="2574" actId="165"/>
          <ac:spMkLst>
            <pc:docMk/>
            <pc:sldMk cId="4141369604" sldId="675"/>
            <ac:spMk id="25" creationId="{91E12D3C-AF71-49FE-9806-F044AB74C3B2}"/>
          </ac:spMkLst>
        </pc:spChg>
        <pc:spChg chg="add mod">
          <ac:chgData name="Umholtz, Jake" userId="68c67aa9-53c4-4aab-a03d-c07f0aadf984" providerId="ADAL" clId="{E8B9A4AC-3859-48A6-9E4D-9C49887B00C8}" dt="2023-01-27T18:41:29.532" v="2349" actId="20577"/>
          <ac:spMkLst>
            <pc:docMk/>
            <pc:sldMk cId="4141369604" sldId="675"/>
            <ac:spMk id="27" creationId="{F40D1601-F686-432C-930E-9AE01E5E0897}"/>
          </ac:spMkLst>
        </pc:spChg>
        <pc:spChg chg="add mod ord">
          <ac:chgData name="Umholtz, Jake" userId="68c67aa9-53c4-4aab-a03d-c07f0aadf984" providerId="ADAL" clId="{E8B9A4AC-3859-48A6-9E4D-9C49887B00C8}" dt="2023-02-02T23:47:53.247" v="5940" actId="20577"/>
          <ac:spMkLst>
            <pc:docMk/>
            <pc:sldMk cId="4141369604" sldId="675"/>
            <ac:spMk id="28" creationId="{F3E6C463-5095-420D-ACA6-80618E3C2379}"/>
          </ac:spMkLst>
        </pc:spChg>
        <pc:spChg chg="mod">
          <ac:chgData name="Umholtz, Jake" userId="68c67aa9-53c4-4aab-a03d-c07f0aadf984" providerId="ADAL" clId="{E8B9A4AC-3859-48A6-9E4D-9C49887B00C8}" dt="2023-01-27T18:12:22.892" v="1824" actId="404"/>
          <ac:spMkLst>
            <pc:docMk/>
            <pc:sldMk cId="4141369604" sldId="675"/>
            <ac:spMk id="35" creationId="{21B141A2-9514-43F2-9ACA-23AEEABB64D2}"/>
          </ac:spMkLst>
        </pc:spChg>
        <pc:spChg chg="mod">
          <ac:chgData name="Umholtz, Jake" userId="68c67aa9-53c4-4aab-a03d-c07f0aadf984" providerId="ADAL" clId="{E8B9A4AC-3859-48A6-9E4D-9C49887B00C8}" dt="2023-01-27T18:01:49.113" v="1709" actId="207"/>
          <ac:spMkLst>
            <pc:docMk/>
            <pc:sldMk cId="4141369604" sldId="675"/>
            <ac:spMk id="39" creationId="{5B014342-D871-4F33-9CC0-E056B0092E91}"/>
          </ac:spMkLst>
        </pc:spChg>
        <pc:spChg chg="mod">
          <ac:chgData name="Umholtz, Jake" userId="68c67aa9-53c4-4aab-a03d-c07f0aadf984" providerId="ADAL" clId="{E8B9A4AC-3859-48A6-9E4D-9C49887B00C8}" dt="2023-01-27T18:12:25.757" v="1826" actId="404"/>
          <ac:spMkLst>
            <pc:docMk/>
            <pc:sldMk cId="4141369604" sldId="675"/>
            <ac:spMk id="40" creationId="{1E0D1717-5BAC-48B7-8FCF-2C8F933A1E5A}"/>
          </ac:spMkLst>
        </pc:spChg>
        <pc:spChg chg="mod">
          <ac:chgData name="Umholtz, Jake" userId="68c67aa9-53c4-4aab-a03d-c07f0aadf984" providerId="ADAL" clId="{E8B9A4AC-3859-48A6-9E4D-9C49887B00C8}" dt="2023-01-27T19:06:37.110" v="2867" actId="1076"/>
          <ac:spMkLst>
            <pc:docMk/>
            <pc:sldMk cId="4141369604" sldId="675"/>
            <ac:spMk id="42" creationId="{8CD595F8-E33B-4FF5-B1E6-F52581B8066B}"/>
          </ac:spMkLst>
        </pc:spChg>
        <pc:spChg chg="mod">
          <ac:chgData name="Umholtz, Jake" userId="68c67aa9-53c4-4aab-a03d-c07f0aadf984" providerId="ADAL" clId="{E8B9A4AC-3859-48A6-9E4D-9C49887B00C8}" dt="2023-01-27T19:06:31.988" v="2866" actId="1076"/>
          <ac:spMkLst>
            <pc:docMk/>
            <pc:sldMk cId="4141369604" sldId="675"/>
            <ac:spMk id="44" creationId="{965DF6A5-1D5F-42FE-8DF5-42E30F793F4A}"/>
          </ac:spMkLst>
        </pc:spChg>
        <pc:spChg chg="add del mod">
          <ac:chgData name="Umholtz, Jake" userId="68c67aa9-53c4-4aab-a03d-c07f0aadf984" providerId="ADAL" clId="{E8B9A4AC-3859-48A6-9E4D-9C49887B00C8}" dt="2023-01-27T19:23:15.197" v="3210" actId="21"/>
          <ac:spMkLst>
            <pc:docMk/>
            <pc:sldMk cId="4141369604" sldId="675"/>
            <ac:spMk id="45" creationId="{3FEB0D6E-2CFD-47F7-942A-BAFDC9A0DCCF}"/>
          </ac:spMkLst>
        </pc:spChg>
        <pc:spChg chg="mod">
          <ac:chgData name="Umholtz, Jake" userId="68c67aa9-53c4-4aab-a03d-c07f0aadf984" providerId="ADAL" clId="{E8B9A4AC-3859-48A6-9E4D-9C49887B00C8}" dt="2023-01-27T19:35:56.720" v="4099" actId="14100"/>
          <ac:spMkLst>
            <pc:docMk/>
            <pc:sldMk cId="4141369604" sldId="675"/>
            <ac:spMk id="47" creationId="{60F758E3-4E18-4940-BF92-9D2A478A28A1}"/>
          </ac:spMkLst>
        </pc:spChg>
        <pc:spChg chg="mod">
          <ac:chgData name="Umholtz, Jake" userId="68c67aa9-53c4-4aab-a03d-c07f0aadf984" providerId="ADAL" clId="{E8B9A4AC-3859-48A6-9E4D-9C49887B00C8}" dt="2023-01-27T19:24:25.052" v="3286" actId="20577"/>
          <ac:spMkLst>
            <pc:docMk/>
            <pc:sldMk cId="4141369604" sldId="675"/>
            <ac:spMk id="48" creationId="{2D5479F7-9935-42AD-948C-8FC6B702B77B}"/>
          </ac:spMkLst>
        </pc:spChg>
        <pc:spChg chg="mod">
          <ac:chgData name="Umholtz, Jake" userId="68c67aa9-53c4-4aab-a03d-c07f0aadf984" providerId="ADAL" clId="{E8B9A4AC-3859-48A6-9E4D-9C49887B00C8}" dt="2023-02-02T23:28:55.761" v="5195" actId="20577"/>
          <ac:spMkLst>
            <pc:docMk/>
            <pc:sldMk cId="4141369604" sldId="675"/>
            <ac:spMk id="50" creationId="{D0B593D9-3F5F-4628-AAEA-2082D21370BD}"/>
          </ac:spMkLst>
        </pc:spChg>
        <pc:spChg chg="mod">
          <ac:chgData name="Umholtz, Jake" userId="68c67aa9-53c4-4aab-a03d-c07f0aadf984" providerId="ADAL" clId="{E8B9A4AC-3859-48A6-9E4D-9C49887B00C8}" dt="2023-01-27T19:25:30.887" v="3408" actId="1076"/>
          <ac:spMkLst>
            <pc:docMk/>
            <pc:sldMk cId="4141369604" sldId="675"/>
            <ac:spMk id="51" creationId="{F4DF6723-124B-4FA9-AE98-565313C35406}"/>
          </ac:spMkLst>
        </pc:spChg>
        <pc:grpChg chg="add del mod">
          <ac:chgData name="Umholtz, Jake" userId="68c67aa9-53c4-4aab-a03d-c07f0aadf984" providerId="ADAL" clId="{E8B9A4AC-3859-48A6-9E4D-9C49887B00C8}" dt="2023-01-27T18:38:15.547" v="2223" actId="165"/>
          <ac:grpSpMkLst>
            <pc:docMk/>
            <pc:sldMk cId="4141369604" sldId="675"/>
            <ac:grpSpMk id="8" creationId="{72FBEE7F-1766-4C75-9375-4B2D90BD524D}"/>
          </ac:grpSpMkLst>
        </pc:grpChg>
        <pc:grpChg chg="add mod">
          <ac:chgData name="Umholtz, Jake" userId="68c67aa9-53c4-4aab-a03d-c07f0aadf984" providerId="ADAL" clId="{E8B9A4AC-3859-48A6-9E4D-9C49887B00C8}" dt="2023-01-27T18:40:23.693" v="2313" actId="1076"/>
          <ac:grpSpMkLst>
            <pc:docMk/>
            <pc:sldMk cId="4141369604" sldId="675"/>
            <ac:grpSpMk id="9" creationId="{FFEAA1C9-6E2D-47E9-8458-A39357C2265B}"/>
          </ac:grpSpMkLst>
        </pc:grpChg>
        <pc:grpChg chg="add del mod">
          <ac:chgData name="Umholtz, Jake" userId="68c67aa9-53c4-4aab-a03d-c07f0aadf984" providerId="ADAL" clId="{E8B9A4AC-3859-48A6-9E4D-9C49887B00C8}" dt="2023-01-27T18:54:25.639" v="2574" actId="165"/>
          <ac:grpSpMkLst>
            <pc:docMk/>
            <pc:sldMk cId="4141369604" sldId="675"/>
            <ac:grpSpMk id="10" creationId="{0C705F21-6851-444A-9563-9D64BF0A1EC7}"/>
          </ac:grpSpMkLst>
        </pc:grpChg>
        <pc:grpChg chg="del mod">
          <ac:chgData name="Umholtz, Jake" userId="68c67aa9-53c4-4aab-a03d-c07f0aadf984" providerId="ADAL" clId="{E8B9A4AC-3859-48A6-9E4D-9C49887B00C8}" dt="2023-01-27T19:22:59.328" v="3205" actId="21"/>
          <ac:grpSpMkLst>
            <pc:docMk/>
            <pc:sldMk cId="4141369604" sldId="675"/>
            <ac:grpSpMk id="33" creationId="{DEC55F93-37AB-4EE6-8DF0-B384C9C4C405}"/>
          </ac:grpSpMkLst>
        </pc:grpChg>
        <pc:grpChg chg="add mod">
          <ac:chgData name="Umholtz, Jake" userId="68c67aa9-53c4-4aab-a03d-c07f0aadf984" providerId="ADAL" clId="{E8B9A4AC-3859-48A6-9E4D-9C49887B00C8}" dt="2023-01-27T19:24:04.755" v="3251" actId="1076"/>
          <ac:grpSpMkLst>
            <pc:docMk/>
            <pc:sldMk cId="4141369604" sldId="675"/>
            <ac:grpSpMk id="46" creationId="{4B355B8B-CF85-41E1-815A-AB296C94A9B0}"/>
          </ac:grpSpMkLst>
        </pc:grpChg>
        <pc:grpChg chg="add mod">
          <ac:chgData name="Umholtz, Jake" userId="68c67aa9-53c4-4aab-a03d-c07f0aadf984" providerId="ADAL" clId="{E8B9A4AC-3859-48A6-9E4D-9C49887B00C8}" dt="2023-02-02T23:28:15.993" v="5191" actId="1076"/>
          <ac:grpSpMkLst>
            <pc:docMk/>
            <pc:sldMk cId="4141369604" sldId="675"/>
            <ac:grpSpMk id="49" creationId="{61CA4C4C-5EC2-4C82-A326-173C7364B93B}"/>
          </ac:grpSpMkLst>
        </pc:grpChg>
        <pc:picChg chg="add mod">
          <ac:chgData name="Umholtz, Jake" userId="68c67aa9-53c4-4aab-a03d-c07f0aadf984" providerId="ADAL" clId="{E8B9A4AC-3859-48A6-9E4D-9C49887B00C8}" dt="2023-01-27T19:25:00.257" v="3382" actId="1076"/>
          <ac:picMkLst>
            <pc:docMk/>
            <pc:sldMk cId="4141369604" sldId="675"/>
            <ac:picMk id="7" creationId="{6590112B-16AB-4C50-B50E-402919776658}"/>
          </ac:picMkLst>
        </pc:picChg>
        <pc:picChg chg="del mod">
          <ac:chgData name="Umholtz, Jake" userId="68c67aa9-53c4-4aab-a03d-c07f0aadf984" providerId="ADAL" clId="{E8B9A4AC-3859-48A6-9E4D-9C49887B00C8}" dt="2023-01-27T18:00:46.437" v="1685" actId="478"/>
          <ac:picMkLst>
            <pc:docMk/>
            <pc:sldMk cId="4141369604" sldId="675"/>
            <ac:picMk id="11" creationId="{636F249F-4012-416E-A20C-78C5E839CD99}"/>
          </ac:picMkLst>
        </pc:picChg>
        <pc:picChg chg="add del mod">
          <ac:chgData name="Umholtz, Jake" userId="68c67aa9-53c4-4aab-a03d-c07f0aadf984" providerId="ADAL" clId="{E8B9A4AC-3859-48A6-9E4D-9C49887B00C8}" dt="2023-01-27T18:14:29.353" v="2020" actId="478"/>
          <ac:picMkLst>
            <pc:docMk/>
            <pc:sldMk cId="4141369604" sldId="675"/>
            <ac:picMk id="17" creationId="{748CDCDA-9250-4D94-BE9C-C4CA81B61DA4}"/>
          </ac:picMkLst>
        </pc:picChg>
        <pc:cxnChg chg="add mod">
          <ac:chgData name="Umholtz, Jake" userId="68c67aa9-53c4-4aab-a03d-c07f0aadf984" providerId="ADAL" clId="{E8B9A4AC-3859-48A6-9E4D-9C49887B00C8}" dt="2023-01-27T18:46:12.073" v="2513" actId="1582"/>
          <ac:cxnSpMkLst>
            <pc:docMk/>
            <pc:sldMk cId="4141369604" sldId="675"/>
            <ac:cxnSpMk id="13" creationId="{82D7B2CE-B782-4C50-80A0-9AAD3DC86DE7}"/>
          </ac:cxnSpMkLst>
        </pc:cxnChg>
      </pc:sldChg>
      <pc:sldChg chg="addSp delSp modSp mod ord modClrScheme chgLayout modNotesTx">
        <pc:chgData name="Umholtz, Jake" userId="68c67aa9-53c4-4aab-a03d-c07f0aadf984" providerId="ADAL" clId="{E8B9A4AC-3859-48A6-9E4D-9C49887B00C8}" dt="2023-02-03T01:09:04.793" v="7694" actId="6549"/>
        <pc:sldMkLst>
          <pc:docMk/>
          <pc:sldMk cId="1701514505" sldId="676"/>
        </pc:sldMkLst>
        <pc:spChg chg="mod">
          <ac:chgData name="Umholtz, Jake" userId="68c67aa9-53c4-4aab-a03d-c07f0aadf984" providerId="ADAL" clId="{E8B9A4AC-3859-48A6-9E4D-9C49887B00C8}" dt="2023-02-03T00:16:44.386" v="6422" actId="20577"/>
          <ac:spMkLst>
            <pc:docMk/>
            <pc:sldMk cId="1701514505" sldId="676"/>
            <ac:spMk id="2" creationId="{00000000-0000-0000-0000-000000000000}"/>
          </ac:spMkLst>
        </pc:spChg>
        <pc:spChg chg="mod">
          <ac:chgData name="Umholtz, Jake" userId="68c67aa9-53c4-4aab-a03d-c07f0aadf984" providerId="ADAL" clId="{E8B9A4AC-3859-48A6-9E4D-9C49887B00C8}" dt="2023-02-03T00:03:18.064" v="6289" actId="20577"/>
          <ac:spMkLst>
            <pc:docMk/>
            <pc:sldMk cId="1701514505" sldId="676"/>
            <ac:spMk id="9" creationId="{00000000-0000-0000-0000-000000000000}"/>
          </ac:spMkLst>
        </pc:spChg>
        <pc:spChg chg="add mod topLvl">
          <ac:chgData name="Umholtz, Jake" userId="68c67aa9-53c4-4aab-a03d-c07f0aadf984" providerId="ADAL" clId="{E8B9A4AC-3859-48A6-9E4D-9C49887B00C8}" dt="2023-02-02T23:53:50.380" v="6076" actId="164"/>
          <ac:spMkLst>
            <pc:docMk/>
            <pc:sldMk cId="1701514505" sldId="676"/>
            <ac:spMk id="13" creationId="{91543241-222C-4917-B42C-98BCC38F49A2}"/>
          </ac:spMkLst>
        </pc:spChg>
        <pc:spChg chg="add mod topLvl">
          <ac:chgData name="Umholtz, Jake" userId="68c67aa9-53c4-4aab-a03d-c07f0aadf984" providerId="ADAL" clId="{E8B9A4AC-3859-48A6-9E4D-9C49887B00C8}" dt="2023-02-02T23:54:20.668" v="6084" actId="113"/>
          <ac:spMkLst>
            <pc:docMk/>
            <pc:sldMk cId="1701514505" sldId="676"/>
            <ac:spMk id="14" creationId="{7E983A44-A57C-458F-BD14-6C337D5E51FE}"/>
          </ac:spMkLst>
        </pc:spChg>
        <pc:spChg chg="mod topLvl">
          <ac:chgData name="Umholtz, Jake" userId="68c67aa9-53c4-4aab-a03d-c07f0aadf984" providerId="ADAL" clId="{E8B9A4AC-3859-48A6-9E4D-9C49887B00C8}" dt="2023-02-02T23:59:40.500" v="6227" actId="164"/>
          <ac:spMkLst>
            <pc:docMk/>
            <pc:sldMk cId="1701514505" sldId="676"/>
            <ac:spMk id="17" creationId="{5D0F2B0C-D126-4CAF-8DC3-8B7D93FD4EDB}"/>
          </ac:spMkLst>
        </pc:spChg>
        <pc:spChg chg="mod topLvl">
          <ac:chgData name="Umholtz, Jake" userId="68c67aa9-53c4-4aab-a03d-c07f0aadf984" providerId="ADAL" clId="{E8B9A4AC-3859-48A6-9E4D-9C49887B00C8}" dt="2023-02-02T23:59:40.500" v="6227" actId="164"/>
          <ac:spMkLst>
            <pc:docMk/>
            <pc:sldMk cId="1701514505" sldId="676"/>
            <ac:spMk id="19" creationId="{D417DDBD-F9D6-41EF-B74A-7C01C9137E31}"/>
          </ac:spMkLst>
        </pc:spChg>
        <pc:spChg chg="mod">
          <ac:chgData name="Umholtz, Jake" userId="68c67aa9-53c4-4aab-a03d-c07f0aadf984" providerId="ADAL" clId="{E8B9A4AC-3859-48A6-9E4D-9C49887B00C8}" dt="2023-01-27T19:54:13.829" v="4347"/>
          <ac:spMkLst>
            <pc:docMk/>
            <pc:sldMk cId="1701514505" sldId="676"/>
            <ac:spMk id="21" creationId="{27851645-096F-449A-90C4-DB9DC1B997BC}"/>
          </ac:spMkLst>
        </pc:spChg>
        <pc:spChg chg="mod">
          <ac:chgData name="Umholtz, Jake" userId="68c67aa9-53c4-4aab-a03d-c07f0aadf984" providerId="ADAL" clId="{E8B9A4AC-3859-48A6-9E4D-9C49887B00C8}" dt="2023-01-27T19:54:13.829" v="4347"/>
          <ac:spMkLst>
            <pc:docMk/>
            <pc:sldMk cId="1701514505" sldId="676"/>
            <ac:spMk id="22" creationId="{0B897A09-150B-459B-B34F-3D08EA5F923D}"/>
          </ac:spMkLst>
        </pc:spChg>
        <pc:spChg chg="mod topLvl">
          <ac:chgData name="Umholtz, Jake" userId="68c67aa9-53c4-4aab-a03d-c07f0aadf984" providerId="ADAL" clId="{E8B9A4AC-3859-48A6-9E4D-9C49887B00C8}" dt="2023-02-02T23:58:41.695" v="6172" actId="164"/>
          <ac:spMkLst>
            <pc:docMk/>
            <pc:sldMk cId="1701514505" sldId="676"/>
            <ac:spMk id="24" creationId="{E0D0D3A7-022B-4242-BB1D-258336044ED3}"/>
          </ac:spMkLst>
        </pc:spChg>
        <pc:spChg chg="mod topLvl">
          <ac:chgData name="Umholtz, Jake" userId="68c67aa9-53c4-4aab-a03d-c07f0aadf984" providerId="ADAL" clId="{E8B9A4AC-3859-48A6-9E4D-9C49887B00C8}" dt="2023-02-02T23:58:41.695" v="6172" actId="164"/>
          <ac:spMkLst>
            <pc:docMk/>
            <pc:sldMk cId="1701514505" sldId="676"/>
            <ac:spMk id="25" creationId="{659D75D4-6496-4B7B-B997-23DBE59A00A1}"/>
          </ac:spMkLst>
        </pc:spChg>
        <pc:spChg chg="mod topLvl">
          <ac:chgData name="Umholtz, Jake" userId="68c67aa9-53c4-4aab-a03d-c07f0aadf984" providerId="ADAL" clId="{E8B9A4AC-3859-48A6-9E4D-9C49887B00C8}" dt="2023-02-02T23:58:52.919" v="6174" actId="164"/>
          <ac:spMkLst>
            <pc:docMk/>
            <pc:sldMk cId="1701514505" sldId="676"/>
            <ac:spMk id="27" creationId="{A5B47EF6-FF05-443F-8BE3-23DD8B4CE2A0}"/>
          </ac:spMkLst>
        </pc:spChg>
        <pc:spChg chg="mod topLvl">
          <ac:chgData name="Umholtz, Jake" userId="68c67aa9-53c4-4aab-a03d-c07f0aadf984" providerId="ADAL" clId="{E8B9A4AC-3859-48A6-9E4D-9C49887B00C8}" dt="2023-02-02T23:58:52.919" v="6174" actId="164"/>
          <ac:spMkLst>
            <pc:docMk/>
            <pc:sldMk cId="1701514505" sldId="676"/>
            <ac:spMk id="28" creationId="{E26D3D59-51D4-4B9A-8A82-3EEBF846D909}"/>
          </ac:spMkLst>
        </pc:spChg>
        <pc:spChg chg="mod topLvl">
          <ac:chgData name="Umholtz, Jake" userId="68c67aa9-53c4-4aab-a03d-c07f0aadf984" providerId="ADAL" clId="{E8B9A4AC-3859-48A6-9E4D-9C49887B00C8}" dt="2023-02-02T23:59:49.345" v="6228" actId="164"/>
          <ac:spMkLst>
            <pc:docMk/>
            <pc:sldMk cId="1701514505" sldId="676"/>
            <ac:spMk id="30" creationId="{27F6F51A-3926-40BA-A8E1-2D0CC462CE44}"/>
          </ac:spMkLst>
        </pc:spChg>
        <pc:spChg chg="mod topLvl">
          <ac:chgData name="Umholtz, Jake" userId="68c67aa9-53c4-4aab-a03d-c07f0aadf984" providerId="ADAL" clId="{E8B9A4AC-3859-48A6-9E4D-9C49887B00C8}" dt="2023-02-02T23:59:49.345" v="6228" actId="164"/>
          <ac:spMkLst>
            <pc:docMk/>
            <pc:sldMk cId="1701514505" sldId="676"/>
            <ac:spMk id="31" creationId="{6B2AC918-DB3C-4B85-B94D-1F2465CAE575}"/>
          </ac:spMkLst>
        </pc:spChg>
        <pc:spChg chg="del mod">
          <ac:chgData name="Umholtz, Jake" userId="68c67aa9-53c4-4aab-a03d-c07f0aadf984" providerId="ADAL" clId="{E8B9A4AC-3859-48A6-9E4D-9C49887B00C8}" dt="2023-01-27T19:45:48.326" v="4180" actId="478"/>
          <ac:spMkLst>
            <pc:docMk/>
            <pc:sldMk cId="1701514505" sldId="676"/>
            <ac:spMk id="50" creationId="{E8B99C6C-6341-42FA-8782-F9A2A9997B89}"/>
          </ac:spMkLst>
        </pc:spChg>
        <pc:spChg chg="del">
          <ac:chgData name="Umholtz, Jake" userId="68c67aa9-53c4-4aab-a03d-c07f0aadf984" providerId="ADAL" clId="{E8B9A4AC-3859-48A6-9E4D-9C49887B00C8}" dt="2023-01-27T19:45:47.069" v="4179" actId="478"/>
          <ac:spMkLst>
            <pc:docMk/>
            <pc:sldMk cId="1701514505" sldId="676"/>
            <ac:spMk id="51" creationId="{C051B629-1B86-4E42-8905-E55A30243733}"/>
          </ac:spMkLst>
        </pc:spChg>
        <pc:spChg chg="del">
          <ac:chgData name="Umholtz, Jake" userId="68c67aa9-53c4-4aab-a03d-c07f0aadf984" providerId="ADAL" clId="{E8B9A4AC-3859-48A6-9E4D-9C49887B00C8}" dt="2023-01-27T19:45:45.716" v="4177" actId="478"/>
          <ac:spMkLst>
            <pc:docMk/>
            <pc:sldMk cId="1701514505" sldId="676"/>
            <ac:spMk id="52" creationId="{6EABDFAA-3CC4-4C2E-89B0-CA8A364EC71C}"/>
          </ac:spMkLst>
        </pc:spChg>
        <pc:spChg chg="add del mod">
          <ac:chgData name="Umholtz, Jake" userId="68c67aa9-53c4-4aab-a03d-c07f0aadf984" providerId="ADAL" clId="{E8B9A4AC-3859-48A6-9E4D-9C49887B00C8}" dt="2023-01-27T19:54:09.317" v="4346" actId="478"/>
          <ac:spMkLst>
            <pc:docMk/>
            <pc:sldMk cId="1701514505" sldId="676"/>
            <ac:spMk id="53" creationId="{9CEEF2A9-79FA-FD41-906A-0E01C15B0523}"/>
          </ac:spMkLst>
        </pc:spChg>
        <pc:grpChg chg="add mod">
          <ac:chgData name="Umholtz, Jake" userId="68c67aa9-53c4-4aab-a03d-c07f0aadf984" providerId="ADAL" clId="{E8B9A4AC-3859-48A6-9E4D-9C49887B00C8}" dt="2023-02-03T00:00:45.375" v="6235" actId="164"/>
          <ac:grpSpMkLst>
            <pc:docMk/>
            <pc:sldMk cId="1701514505" sldId="676"/>
            <ac:grpSpMk id="7" creationId="{3F6201C1-8B6A-4AA7-8E9E-F3166ECF00CB}"/>
          </ac:grpSpMkLst>
        </pc:grpChg>
        <pc:grpChg chg="add mod">
          <ac:chgData name="Umholtz, Jake" userId="68c67aa9-53c4-4aab-a03d-c07f0aadf984" providerId="ADAL" clId="{E8B9A4AC-3859-48A6-9E4D-9C49887B00C8}" dt="2023-02-03T00:00:45.375" v="6235" actId="164"/>
          <ac:grpSpMkLst>
            <pc:docMk/>
            <pc:sldMk cId="1701514505" sldId="676"/>
            <ac:grpSpMk id="8" creationId="{A66CF653-3E40-4D9A-B344-4EC6F5230104}"/>
          </ac:grpSpMkLst>
        </pc:grpChg>
        <pc:grpChg chg="add mod">
          <ac:chgData name="Umholtz, Jake" userId="68c67aa9-53c4-4aab-a03d-c07f0aadf984" providerId="ADAL" clId="{E8B9A4AC-3859-48A6-9E4D-9C49887B00C8}" dt="2023-02-03T00:00:45.375" v="6235" actId="164"/>
          <ac:grpSpMkLst>
            <pc:docMk/>
            <pc:sldMk cId="1701514505" sldId="676"/>
            <ac:grpSpMk id="10" creationId="{9EF15DA9-A14E-4FD0-913B-2257F21801D1}"/>
          </ac:grpSpMkLst>
        </pc:grpChg>
        <pc:grpChg chg="add mod">
          <ac:chgData name="Umholtz, Jake" userId="68c67aa9-53c4-4aab-a03d-c07f0aadf984" providerId="ADAL" clId="{E8B9A4AC-3859-48A6-9E4D-9C49887B00C8}" dt="2023-02-03T00:00:45.375" v="6235" actId="164"/>
          <ac:grpSpMkLst>
            <pc:docMk/>
            <pc:sldMk cId="1701514505" sldId="676"/>
            <ac:grpSpMk id="11" creationId="{299A1700-2341-4DED-87F9-43EAA456B6C1}"/>
          </ac:grpSpMkLst>
        </pc:grpChg>
        <pc:grpChg chg="add del mod">
          <ac:chgData name="Umholtz, Jake" userId="68c67aa9-53c4-4aab-a03d-c07f0aadf984" providerId="ADAL" clId="{E8B9A4AC-3859-48A6-9E4D-9C49887B00C8}" dt="2023-02-02T23:52:38.902" v="6055" actId="165"/>
          <ac:grpSpMkLst>
            <pc:docMk/>
            <pc:sldMk cId="1701514505" sldId="676"/>
            <ac:grpSpMk id="12" creationId="{A6A23E1D-2561-45FA-9A6D-C56EE7B8B238}"/>
          </ac:grpSpMkLst>
        </pc:grpChg>
        <pc:grpChg chg="add mod">
          <ac:chgData name="Umholtz, Jake" userId="68c67aa9-53c4-4aab-a03d-c07f0aadf984" providerId="ADAL" clId="{E8B9A4AC-3859-48A6-9E4D-9C49887B00C8}" dt="2023-02-03T00:00:45.375" v="6235" actId="164"/>
          <ac:grpSpMkLst>
            <pc:docMk/>
            <pc:sldMk cId="1701514505" sldId="676"/>
            <ac:grpSpMk id="15" creationId="{E0AAAB90-8BE2-4B4C-B640-C6AAB7D26899}"/>
          </ac:grpSpMkLst>
        </pc:grpChg>
        <pc:grpChg chg="add del mod">
          <ac:chgData name="Umholtz, Jake" userId="68c67aa9-53c4-4aab-a03d-c07f0aadf984" providerId="ADAL" clId="{E8B9A4AC-3859-48A6-9E4D-9C49887B00C8}" dt="2023-02-02T23:55:03.105" v="6095" actId="165"/>
          <ac:grpSpMkLst>
            <pc:docMk/>
            <pc:sldMk cId="1701514505" sldId="676"/>
            <ac:grpSpMk id="16" creationId="{1BB825B5-C98E-4B52-A97B-C54EC9B9B359}"/>
          </ac:grpSpMkLst>
        </pc:grpChg>
        <pc:grpChg chg="add del mod">
          <ac:chgData name="Umholtz, Jake" userId="68c67aa9-53c4-4aab-a03d-c07f0aadf984" providerId="ADAL" clId="{E8B9A4AC-3859-48A6-9E4D-9C49887B00C8}" dt="2023-02-02T23:50:26.674" v="6023" actId="21"/>
          <ac:grpSpMkLst>
            <pc:docMk/>
            <pc:sldMk cId="1701514505" sldId="676"/>
            <ac:grpSpMk id="20" creationId="{D3885CC2-064E-4CB7-8ED3-E48C8F299FF2}"/>
          </ac:grpSpMkLst>
        </pc:grpChg>
        <pc:grpChg chg="add del mod">
          <ac:chgData name="Umholtz, Jake" userId="68c67aa9-53c4-4aab-a03d-c07f0aadf984" providerId="ADAL" clId="{E8B9A4AC-3859-48A6-9E4D-9C49887B00C8}" dt="2023-02-02T23:56:58.797" v="6133" actId="165"/>
          <ac:grpSpMkLst>
            <pc:docMk/>
            <pc:sldMk cId="1701514505" sldId="676"/>
            <ac:grpSpMk id="23" creationId="{333B7798-FED6-4877-BE96-7DDE44482A2E}"/>
          </ac:grpSpMkLst>
        </pc:grpChg>
        <pc:grpChg chg="add del mod">
          <ac:chgData name="Umholtz, Jake" userId="68c67aa9-53c4-4aab-a03d-c07f0aadf984" providerId="ADAL" clId="{E8B9A4AC-3859-48A6-9E4D-9C49887B00C8}" dt="2023-02-02T23:57:28.947" v="6146" actId="165"/>
          <ac:grpSpMkLst>
            <pc:docMk/>
            <pc:sldMk cId="1701514505" sldId="676"/>
            <ac:grpSpMk id="26" creationId="{4AA3B07A-B420-4870-B268-FE7BFD51C92D}"/>
          </ac:grpSpMkLst>
        </pc:grpChg>
        <pc:grpChg chg="add del mod">
          <ac:chgData name="Umholtz, Jake" userId="68c67aa9-53c4-4aab-a03d-c07f0aadf984" providerId="ADAL" clId="{E8B9A4AC-3859-48A6-9E4D-9C49887B00C8}" dt="2023-02-02T23:56:03.832" v="6116" actId="165"/>
          <ac:grpSpMkLst>
            <pc:docMk/>
            <pc:sldMk cId="1701514505" sldId="676"/>
            <ac:grpSpMk id="29" creationId="{478664C3-C097-4B62-8557-A5FE661ED788}"/>
          </ac:grpSpMkLst>
        </pc:grpChg>
        <pc:grpChg chg="add mod">
          <ac:chgData name="Umholtz, Jake" userId="68c67aa9-53c4-4aab-a03d-c07f0aadf984" providerId="ADAL" clId="{E8B9A4AC-3859-48A6-9E4D-9C49887B00C8}" dt="2023-02-03T00:01:26.544" v="6272" actId="1076"/>
          <ac:grpSpMkLst>
            <pc:docMk/>
            <pc:sldMk cId="1701514505" sldId="676"/>
            <ac:grpSpMk id="32" creationId="{DF38EC86-4EEE-4EA2-9571-6B40BF725967}"/>
          </ac:grpSpMkLst>
        </pc:grpChg>
        <pc:grpChg chg="del">
          <ac:chgData name="Umholtz, Jake" userId="68c67aa9-53c4-4aab-a03d-c07f0aadf984" providerId="ADAL" clId="{E8B9A4AC-3859-48A6-9E4D-9C49887B00C8}" dt="2023-01-27T19:45:49.291" v="4181" actId="478"/>
          <ac:grpSpMkLst>
            <pc:docMk/>
            <pc:sldMk cId="1701514505" sldId="676"/>
            <ac:grpSpMk id="43" creationId="{D086D5B9-9804-4F35-8D02-941AA8DE7B14}"/>
          </ac:grpSpMkLst>
        </pc:grpChg>
        <pc:picChg chg="add mod">
          <ac:chgData name="Umholtz, Jake" userId="68c67aa9-53c4-4aab-a03d-c07f0aadf984" providerId="ADAL" clId="{E8B9A4AC-3859-48A6-9E4D-9C49887B00C8}" dt="2023-02-02T23:51:13.103" v="6031" actId="14100"/>
          <ac:picMkLst>
            <pc:docMk/>
            <pc:sldMk cId="1701514505" sldId="676"/>
            <ac:picMk id="4" creationId="{816A057D-CB83-4988-8B3C-F7702EC23CD0}"/>
          </ac:picMkLst>
        </pc:picChg>
        <pc:picChg chg="del">
          <ac:chgData name="Umholtz, Jake" userId="68c67aa9-53c4-4aab-a03d-c07f0aadf984" providerId="ADAL" clId="{E8B9A4AC-3859-48A6-9E4D-9C49887B00C8}" dt="2023-01-27T19:46:05.148" v="4207" actId="478"/>
          <ac:picMkLst>
            <pc:docMk/>
            <pc:sldMk cId="1701514505" sldId="676"/>
            <ac:picMk id="4" creationId="{81D6E040-1F5B-419B-98D4-7317EF949E62}"/>
          </ac:picMkLst>
        </pc:picChg>
        <pc:picChg chg="add del mod">
          <ac:chgData name="Umholtz, Jake" userId="68c67aa9-53c4-4aab-a03d-c07f0aadf984" providerId="ADAL" clId="{E8B9A4AC-3859-48A6-9E4D-9C49887B00C8}" dt="2023-01-27T19:53:50.623" v="4337" actId="21"/>
          <ac:picMkLst>
            <pc:docMk/>
            <pc:sldMk cId="1701514505" sldId="676"/>
            <ac:picMk id="5" creationId="{DC71ECCD-F74A-4263-AE0E-05BEE0F58078}"/>
          </ac:picMkLst>
        </pc:picChg>
        <pc:picChg chg="add mod">
          <ac:chgData name="Umholtz, Jake" userId="68c67aa9-53c4-4aab-a03d-c07f0aadf984" providerId="ADAL" clId="{E8B9A4AC-3859-48A6-9E4D-9C49887B00C8}" dt="2023-02-03T00:01:32.741" v="6273" actId="1076"/>
          <ac:picMkLst>
            <pc:docMk/>
            <pc:sldMk cId="1701514505" sldId="676"/>
            <ac:picMk id="6" creationId="{2C171741-B648-4FC4-A5D6-21A5907BC971}"/>
          </ac:picMkLst>
        </pc:picChg>
        <pc:picChg chg="add del mod">
          <ac:chgData name="Umholtz, Jake" userId="68c67aa9-53c4-4aab-a03d-c07f0aadf984" providerId="ADAL" clId="{E8B9A4AC-3859-48A6-9E4D-9C49887B00C8}" dt="2023-01-27T19:46:29.954" v="4212" actId="478"/>
          <ac:picMkLst>
            <pc:docMk/>
            <pc:sldMk cId="1701514505" sldId="676"/>
            <ac:picMk id="15" creationId="{C025928F-76BB-4618-B0D5-72058D673B37}"/>
          </ac:picMkLst>
        </pc:picChg>
        <pc:picChg chg="add del mod ord">
          <ac:chgData name="Umholtz, Jake" userId="68c67aa9-53c4-4aab-a03d-c07f0aadf984" providerId="ADAL" clId="{E8B9A4AC-3859-48A6-9E4D-9C49887B00C8}" dt="2023-02-02T23:43:30.238" v="5929" actId="478"/>
          <ac:picMkLst>
            <pc:docMk/>
            <pc:sldMk cId="1701514505" sldId="676"/>
            <ac:picMk id="18" creationId="{869718EB-6FD0-4A7F-8F47-B391DF2730F4}"/>
          </ac:picMkLst>
        </pc:picChg>
      </pc:sldChg>
      <pc:sldChg chg="del">
        <pc:chgData name="Umholtz, Jake" userId="68c67aa9-53c4-4aab-a03d-c07f0aadf984" providerId="ADAL" clId="{E8B9A4AC-3859-48A6-9E4D-9C49887B00C8}" dt="2023-02-03T00:34:58.132" v="6633" actId="47"/>
        <pc:sldMkLst>
          <pc:docMk/>
          <pc:sldMk cId="3876084295" sldId="677"/>
        </pc:sldMkLst>
      </pc:sldChg>
      <pc:sldChg chg="del">
        <pc:chgData name="Umholtz, Jake" userId="68c67aa9-53c4-4aab-a03d-c07f0aadf984" providerId="ADAL" clId="{E8B9A4AC-3859-48A6-9E4D-9C49887B00C8}" dt="2023-02-03T00:34:59.989" v="6634" actId="47"/>
        <pc:sldMkLst>
          <pc:docMk/>
          <pc:sldMk cId="1984168158" sldId="678"/>
        </pc:sldMkLst>
      </pc:sldChg>
      <pc:sldChg chg="addSp delSp modSp mod modClrScheme chgLayout">
        <pc:chgData name="Umholtz, Jake" userId="68c67aa9-53c4-4aab-a03d-c07f0aadf984" providerId="ADAL" clId="{E8B9A4AC-3859-48A6-9E4D-9C49887B00C8}" dt="2023-02-02T23:36:29.975" v="5379" actId="403"/>
        <pc:sldMkLst>
          <pc:docMk/>
          <pc:sldMk cId="3801684248" sldId="679"/>
        </pc:sldMkLst>
        <pc:spChg chg="mod">
          <ac:chgData name="Umholtz, Jake" userId="68c67aa9-53c4-4aab-a03d-c07f0aadf984" providerId="ADAL" clId="{E8B9A4AC-3859-48A6-9E4D-9C49887B00C8}" dt="2023-01-27T17:18:59.828" v="420" actId="26606"/>
          <ac:spMkLst>
            <pc:docMk/>
            <pc:sldMk cId="3801684248" sldId="679"/>
            <ac:spMk id="3" creationId="{AED30E20-1946-418A-8DDA-E16F6E7FFC07}"/>
          </ac:spMkLst>
        </pc:spChg>
        <pc:spChg chg="add del mod">
          <ac:chgData name="Umholtz, Jake" userId="68c67aa9-53c4-4aab-a03d-c07f0aadf984" providerId="ADAL" clId="{E8B9A4AC-3859-48A6-9E4D-9C49887B00C8}" dt="2023-01-27T17:18:41.779" v="414" actId="22"/>
          <ac:spMkLst>
            <pc:docMk/>
            <pc:sldMk cId="3801684248" sldId="679"/>
            <ac:spMk id="4" creationId="{5E5A1ABF-427C-4439-8DCD-82FC1ECD56F2}"/>
          </ac:spMkLst>
        </pc:spChg>
        <pc:spChg chg="add mod">
          <ac:chgData name="Umholtz, Jake" userId="68c67aa9-53c4-4aab-a03d-c07f0aadf984" providerId="ADAL" clId="{E8B9A4AC-3859-48A6-9E4D-9C49887B00C8}" dt="2023-01-27T17:20:27.470" v="472" actId="14100"/>
          <ac:spMkLst>
            <pc:docMk/>
            <pc:sldMk cId="3801684248" sldId="679"/>
            <ac:spMk id="7" creationId="{E1CF1A2D-1EC1-47E2-AB98-38C3161F9382}"/>
          </ac:spMkLst>
        </pc:spChg>
        <pc:spChg chg="mod">
          <ac:chgData name="Umholtz, Jake" userId="68c67aa9-53c4-4aab-a03d-c07f0aadf984" providerId="ADAL" clId="{E8B9A4AC-3859-48A6-9E4D-9C49887B00C8}" dt="2023-01-27T17:24:35.478" v="654" actId="20577"/>
          <ac:spMkLst>
            <pc:docMk/>
            <pc:sldMk cId="3801684248" sldId="679"/>
            <ac:spMk id="15" creationId="{D81D76FF-F3D9-5804-88E3-E1636A8CF1C4}"/>
          </ac:spMkLst>
        </pc:spChg>
        <pc:spChg chg="mod">
          <ac:chgData name="Umholtz, Jake" userId="68c67aa9-53c4-4aab-a03d-c07f0aadf984" providerId="ADAL" clId="{E8B9A4AC-3859-48A6-9E4D-9C49887B00C8}" dt="2023-02-02T23:36:29.975" v="5379" actId="403"/>
          <ac:spMkLst>
            <pc:docMk/>
            <pc:sldMk cId="3801684248" sldId="679"/>
            <ac:spMk id="17" creationId="{89087118-613C-9A85-3F1A-FC31EAE80457}"/>
          </ac:spMkLst>
        </pc:spChg>
        <pc:picChg chg="add mod ord">
          <ac:chgData name="Umholtz, Jake" userId="68c67aa9-53c4-4aab-a03d-c07f0aadf984" providerId="ADAL" clId="{E8B9A4AC-3859-48A6-9E4D-9C49887B00C8}" dt="2023-01-27T17:25:57.931" v="656" actId="14100"/>
          <ac:picMkLst>
            <pc:docMk/>
            <pc:sldMk cId="3801684248" sldId="679"/>
            <ac:picMk id="6" creationId="{FA8D3958-CD3F-46BD-973A-F0C1B633C8BF}"/>
          </ac:picMkLst>
        </pc:picChg>
        <pc:picChg chg="del">
          <ac:chgData name="Umholtz, Jake" userId="68c67aa9-53c4-4aab-a03d-c07f0aadf984" providerId="ADAL" clId="{E8B9A4AC-3859-48A6-9E4D-9C49887B00C8}" dt="2023-01-27T17:18:35.993" v="413" actId="478"/>
          <ac:picMkLst>
            <pc:docMk/>
            <pc:sldMk cId="3801684248" sldId="679"/>
            <ac:picMk id="10" creationId="{416BE93B-28AD-4E77-921A-3DBF2C62BB8B}"/>
          </ac:picMkLst>
        </pc:picChg>
      </pc:sldChg>
      <pc:sldChg chg="del">
        <pc:chgData name="Umholtz, Jake" userId="68c67aa9-53c4-4aab-a03d-c07f0aadf984" providerId="ADAL" clId="{E8B9A4AC-3859-48A6-9E4D-9C49887B00C8}" dt="2023-02-03T00:35:00.922" v="6635" actId="47"/>
        <pc:sldMkLst>
          <pc:docMk/>
          <pc:sldMk cId="3923910200" sldId="680"/>
        </pc:sldMkLst>
      </pc:sldChg>
      <pc:sldChg chg="del">
        <pc:chgData name="Umholtz, Jake" userId="68c67aa9-53c4-4aab-a03d-c07f0aadf984" providerId="ADAL" clId="{E8B9A4AC-3859-48A6-9E4D-9C49887B00C8}" dt="2023-01-27T19:55:22.832" v="4351" actId="47"/>
        <pc:sldMkLst>
          <pc:docMk/>
          <pc:sldMk cId="3436680573" sldId="681"/>
        </pc:sldMkLst>
      </pc:sldChg>
      <pc:sldChg chg="del">
        <pc:chgData name="Umholtz, Jake" userId="68c67aa9-53c4-4aab-a03d-c07f0aadf984" providerId="ADAL" clId="{E8B9A4AC-3859-48A6-9E4D-9C49887B00C8}" dt="2023-02-03T00:35:08.158" v="6640" actId="47"/>
        <pc:sldMkLst>
          <pc:docMk/>
          <pc:sldMk cId="3470529705" sldId="682"/>
        </pc:sldMkLst>
      </pc:sldChg>
      <pc:sldChg chg="del">
        <pc:chgData name="Umholtz, Jake" userId="68c67aa9-53c4-4aab-a03d-c07f0aadf984" providerId="ADAL" clId="{E8B9A4AC-3859-48A6-9E4D-9C49887B00C8}" dt="2023-01-27T19:54:34.489" v="4349" actId="47"/>
        <pc:sldMkLst>
          <pc:docMk/>
          <pc:sldMk cId="603201446" sldId="684"/>
        </pc:sldMkLst>
      </pc:sldChg>
      <pc:sldChg chg="addSp delSp modSp mod">
        <pc:chgData name="Umholtz, Jake" userId="68c67aa9-53c4-4aab-a03d-c07f0aadf984" providerId="ADAL" clId="{E8B9A4AC-3859-48A6-9E4D-9C49887B00C8}" dt="2023-02-02T23:49:12.664" v="6022" actId="1076"/>
        <pc:sldMkLst>
          <pc:docMk/>
          <pc:sldMk cId="998687245" sldId="712"/>
        </pc:sldMkLst>
        <pc:spChg chg="add del mod">
          <ac:chgData name="Umholtz, Jake" userId="68c67aa9-53c4-4aab-a03d-c07f0aadf984" providerId="ADAL" clId="{E8B9A4AC-3859-48A6-9E4D-9C49887B00C8}" dt="2023-02-02T23:36:21.278" v="5375" actId="404"/>
          <ac:spMkLst>
            <pc:docMk/>
            <pc:sldMk cId="998687245" sldId="712"/>
            <ac:spMk id="4" creationId="{121B56D1-EE5F-4A2F-9445-167D8108D2BE}"/>
          </ac:spMkLst>
        </pc:spChg>
        <pc:spChg chg="del">
          <ac:chgData name="Umholtz, Jake" userId="68c67aa9-53c4-4aab-a03d-c07f0aadf984" providerId="ADAL" clId="{E8B9A4AC-3859-48A6-9E4D-9C49887B00C8}" dt="2023-01-27T19:19:52.356" v="3203" actId="478"/>
          <ac:spMkLst>
            <pc:docMk/>
            <pc:sldMk cId="998687245" sldId="712"/>
            <ac:spMk id="9" creationId="{00000000-0000-0000-0000-000000000000}"/>
          </ac:spMkLst>
        </pc:spChg>
        <pc:spChg chg="add mod">
          <ac:chgData name="Umholtz, Jake" userId="68c67aa9-53c4-4aab-a03d-c07f0aadf984" providerId="ADAL" clId="{E8B9A4AC-3859-48A6-9E4D-9C49887B00C8}" dt="2023-02-02T23:38:48.595" v="5637" actId="164"/>
          <ac:spMkLst>
            <pc:docMk/>
            <pc:sldMk cId="998687245" sldId="712"/>
            <ac:spMk id="24" creationId="{47EE6968-D71B-4F0A-85C3-E864CF45A325}"/>
          </ac:spMkLst>
        </pc:spChg>
        <pc:spChg chg="add mod">
          <ac:chgData name="Umholtz, Jake" userId="68c67aa9-53c4-4aab-a03d-c07f0aadf984" providerId="ADAL" clId="{E8B9A4AC-3859-48A6-9E4D-9C49887B00C8}" dt="2023-02-02T23:42:07.483" v="5928" actId="113"/>
          <ac:spMkLst>
            <pc:docMk/>
            <pc:sldMk cId="998687245" sldId="712"/>
            <ac:spMk id="25" creationId="{ECABCEAD-58A8-4666-AE7A-506D7DE8672A}"/>
          </ac:spMkLst>
        </pc:spChg>
        <pc:spChg chg="mod">
          <ac:chgData name="Umholtz, Jake" userId="68c67aa9-53c4-4aab-a03d-c07f0aadf984" providerId="ADAL" clId="{E8B9A4AC-3859-48A6-9E4D-9C49887B00C8}" dt="2023-02-02T23:35:13.792" v="5257" actId="20577"/>
          <ac:spMkLst>
            <pc:docMk/>
            <pc:sldMk cId="998687245" sldId="712"/>
            <ac:spMk id="57" creationId="{AC05057D-A276-4D1E-9523-D98744E3915C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58" creationId="{B7F16DB2-EF6F-462C-BBCA-4DD2BDF8EB90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59" creationId="{2355B84B-0E77-45B2-BB08-8E2CC2E004D4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60" creationId="{0E70C109-0A13-457E-9107-1F9E21D743F3}"/>
          </ac:spMkLst>
        </pc:spChg>
        <pc:spChg chg="del">
          <ac:chgData name="Umholtz, Jake" userId="68c67aa9-53c4-4aab-a03d-c07f0aadf984" providerId="ADAL" clId="{E8B9A4AC-3859-48A6-9E4D-9C49887B00C8}" dt="2023-01-27T19:22:32.776" v="3204" actId="478"/>
          <ac:spMkLst>
            <pc:docMk/>
            <pc:sldMk cId="998687245" sldId="712"/>
            <ac:spMk id="77" creationId="{70BD044F-2566-4B3B-B819-312E622AB53A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78" creationId="{CBB24EB4-27BF-4A1B-990C-8B3CBE5E7AEB}"/>
          </ac:spMkLst>
        </pc:spChg>
        <pc:spChg chg="mod">
          <ac:chgData name="Umholtz, Jake" userId="68c67aa9-53c4-4aab-a03d-c07f0aadf984" providerId="ADAL" clId="{E8B9A4AC-3859-48A6-9E4D-9C49887B00C8}" dt="2023-02-02T23:35:01.873" v="5248" actId="14100"/>
          <ac:spMkLst>
            <pc:docMk/>
            <pc:sldMk cId="998687245" sldId="712"/>
            <ac:spMk id="79" creationId="{48E3DC60-DCE2-4948-84CF-67DB41A33E38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80" creationId="{60F59F05-2265-4CB1-94A0-30571A437B8B}"/>
          </ac:spMkLst>
        </pc:spChg>
        <pc:spChg chg="mod">
          <ac:chgData name="Umholtz, Jake" userId="68c67aa9-53c4-4aab-a03d-c07f0aadf984" providerId="ADAL" clId="{E8B9A4AC-3859-48A6-9E4D-9C49887B00C8}" dt="2023-02-02T23:35:24.603" v="5267" actId="20577"/>
          <ac:spMkLst>
            <pc:docMk/>
            <pc:sldMk cId="998687245" sldId="712"/>
            <ac:spMk id="81" creationId="{79911BB4-BB21-4BEF-96F0-5F20CA096734}"/>
          </ac:spMkLst>
        </pc:spChg>
        <pc:spChg chg="mod">
          <ac:chgData name="Umholtz, Jake" userId="68c67aa9-53c4-4aab-a03d-c07f0aadf984" providerId="ADAL" clId="{E8B9A4AC-3859-48A6-9E4D-9C49887B00C8}" dt="2023-01-27T19:23:04.149" v="3206"/>
          <ac:spMkLst>
            <pc:docMk/>
            <pc:sldMk cId="998687245" sldId="712"/>
            <ac:spMk id="82" creationId="{D059C79E-85EF-461D-BF08-FE7CE7B08A55}"/>
          </ac:spMkLst>
        </pc:spChg>
        <pc:spChg chg="mod">
          <ac:chgData name="Umholtz, Jake" userId="68c67aa9-53c4-4aab-a03d-c07f0aadf984" providerId="ADAL" clId="{E8B9A4AC-3859-48A6-9E4D-9C49887B00C8}" dt="2023-02-02T23:34:54.296" v="5240"/>
          <ac:spMkLst>
            <pc:docMk/>
            <pc:sldMk cId="998687245" sldId="712"/>
            <ac:spMk id="83" creationId="{D38E44A6-12B4-4B35-8F00-73CF452A50FD}"/>
          </ac:spMkLst>
        </pc:spChg>
        <pc:spChg chg="add mod">
          <ac:chgData name="Umholtz, Jake" userId="68c67aa9-53c4-4aab-a03d-c07f0aadf984" providerId="ADAL" clId="{E8B9A4AC-3859-48A6-9E4D-9C49887B00C8}" dt="2023-02-02T23:49:12.664" v="6022" actId="1076"/>
          <ac:spMkLst>
            <pc:docMk/>
            <pc:sldMk cId="998687245" sldId="712"/>
            <ac:spMk id="84" creationId="{3DDC8576-B051-4076-A592-797CABBAFA41}"/>
          </ac:spMkLst>
        </pc:spChg>
        <pc:spChg chg="add mod ord">
          <ac:chgData name="Umholtz, Jake" userId="68c67aa9-53c4-4aab-a03d-c07f0aadf984" providerId="ADAL" clId="{E8B9A4AC-3859-48A6-9E4D-9C49887B00C8}" dt="2023-02-02T23:29:45.319" v="5196" actId="20577"/>
          <ac:spMkLst>
            <pc:docMk/>
            <pc:sldMk cId="998687245" sldId="712"/>
            <ac:spMk id="86" creationId="{F83566E7-3DB4-4941-AB74-EBFC5652FED3}"/>
          </ac:spMkLst>
        </pc:spChg>
        <pc:spChg chg="mod ord topLvl">
          <ac:chgData name="Umholtz, Jake" userId="68c67aa9-53c4-4aab-a03d-c07f0aadf984" providerId="ADAL" clId="{E8B9A4AC-3859-48A6-9E4D-9C49887B00C8}" dt="2023-02-02T23:37:32.929" v="5385" actId="164"/>
          <ac:spMkLst>
            <pc:docMk/>
            <pc:sldMk cId="998687245" sldId="712"/>
            <ac:spMk id="88" creationId="{CD9DB424-C6CC-46F5-8CCB-DC37C847BB83}"/>
          </ac:spMkLst>
        </pc:spChg>
        <pc:spChg chg="mod topLvl">
          <ac:chgData name="Umholtz, Jake" userId="68c67aa9-53c4-4aab-a03d-c07f0aadf984" providerId="ADAL" clId="{E8B9A4AC-3859-48A6-9E4D-9C49887B00C8}" dt="2023-02-02T23:37:32.929" v="5385" actId="164"/>
          <ac:spMkLst>
            <pc:docMk/>
            <pc:sldMk cId="998687245" sldId="712"/>
            <ac:spMk id="89" creationId="{C3800067-FA04-4C5F-87F6-F8B62A844E85}"/>
          </ac:spMkLst>
        </pc:spChg>
        <pc:spChg chg="mod">
          <ac:chgData name="Umholtz, Jake" userId="68c67aa9-53c4-4aab-a03d-c07f0aadf984" providerId="ADAL" clId="{E8B9A4AC-3859-48A6-9E4D-9C49887B00C8}" dt="2023-01-27T19:16:50.643" v="3198" actId="207"/>
          <ac:spMkLst>
            <pc:docMk/>
            <pc:sldMk cId="998687245" sldId="712"/>
            <ac:spMk id="371719" creationId="{00000000-0000-0000-0000-000000000000}"/>
          </ac:spMkLst>
        </pc:spChg>
        <pc:grpChg chg="add mod">
          <ac:chgData name="Umholtz, Jake" userId="68c67aa9-53c4-4aab-a03d-c07f0aadf984" providerId="ADAL" clId="{E8B9A4AC-3859-48A6-9E4D-9C49887B00C8}" dt="2023-02-02T23:37:55.865" v="5463" actId="1076"/>
          <ac:grpSpMkLst>
            <pc:docMk/>
            <pc:sldMk cId="998687245" sldId="712"/>
            <ac:grpSpMk id="2" creationId="{7ADF4458-6FAB-4A1E-94BD-DBA01C244B68}"/>
          </ac:grpSpMkLst>
        </pc:grpChg>
        <pc:grpChg chg="del">
          <ac:chgData name="Umholtz, Jake" userId="68c67aa9-53c4-4aab-a03d-c07f0aadf984" providerId="ADAL" clId="{E8B9A4AC-3859-48A6-9E4D-9C49887B00C8}" dt="2023-01-27T19:23:07.666" v="3208" actId="478"/>
          <ac:grpSpMkLst>
            <pc:docMk/>
            <pc:sldMk cId="998687245" sldId="712"/>
            <ac:grpSpMk id="3" creationId="{795438FA-7306-4CCF-985D-14D82EB8EB09}"/>
          </ac:grpSpMkLst>
        </pc:grpChg>
        <pc:grpChg chg="add mod">
          <ac:chgData name="Umholtz, Jake" userId="68c67aa9-53c4-4aab-a03d-c07f0aadf984" providerId="ADAL" clId="{E8B9A4AC-3859-48A6-9E4D-9C49887B00C8}" dt="2023-02-02T23:39:00.928" v="5639" actId="1076"/>
          <ac:grpSpMkLst>
            <pc:docMk/>
            <pc:sldMk cId="998687245" sldId="712"/>
            <ac:grpSpMk id="3" creationId="{DDB0F162-ADB3-4286-A5DA-E3F9F7841614}"/>
          </ac:grpSpMkLst>
        </pc:grpChg>
        <pc:grpChg chg="add mod">
          <ac:chgData name="Umholtz, Jake" userId="68c67aa9-53c4-4aab-a03d-c07f0aadf984" providerId="ADAL" clId="{E8B9A4AC-3859-48A6-9E4D-9C49887B00C8}" dt="2023-02-02T23:37:09.284" v="5383" actId="1076"/>
          <ac:grpSpMkLst>
            <pc:docMk/>
            <pc:sldMk cId="998687245" sldId="712"/>
            <ac:grpSpMk id="5" creationId="{CE7C336E-7564-4494-8C37-A28E32D8EC7C}"/>
          </ac:grpSpMkLst>
        </pc:grpChg>
        <pc:grpChg chg="del mod">
          <ac:chgData name="Umholtz, Jake" userId="68c67aa9-53c4-4aab-a03d-c07f0aadf984" providerId="ADAL" clId="{E8B9A4AC-3859-48A6-9E4D-9C49887B00C8}" dt="2023-01-27T19:19:52.356" v="3203" actId="478"/>
          <ac:grpSpMkLst>
            <pc:docMk/>
            <pc:sldMk cId="998687245" sldId="712"/>
            <ac:grpSpMk id="40" creationId="{6A3FF7B4-8479-4BD9-96EA-AC9141DEF166}"/>
          </ac:grpSpMkLst>
        </pc:grpChg>
        <pc:grpChg chg="add mod">
          <ac:chgData name="Umholtz, Jake" userId="68c67aa9-53c4-4aab-a03d-c07f0aadf984" providerId="ADAL" clId="{E8B9A4AC-3859-48A6-9E4D-9C49887B00C8}" dt="2023-02-02T23:37:47.188" v="5462" actId="1076"/>
          <ac:grpSpMkLst>
            <pc:docMk/>
            <pc:sldMk cId="998687245" sldId="712"/>
            <ac:grpSpMk id="55" creationId="{A15A80F1-AD70-4B9E-AE20-D177312DF47E}"/>
          </ac:grpSpMkLst>
        </pc:grpChg>
        <pc:grpChg chg="mod">
          <ac:chgData name="Umholtz, Jake" userId="68c67aa9-53c4-4aab-a03d-c07f0aadf984" providerId="ADAL" clId="{E8B9A4AC-3859-48A6-9E4D-9C49887B00C8}" dt="2023-01-27T19:23:04.149" v="3206"/>
          <ac:grpSpMkLst>
            <pc:docMk/>
            <pc:sldMk cId="998687245" sldId="712"/>
            <ac:grpSpMk id="56" creationId="{67738854-DE52-4F74-9D3E-D98A7DF7DF51}"/>
          </ac:grpSpMkLst>
        </pc:grpChg>
        <pc:grpChg chg="add del mod">
          <ac:chgData name="Umholtz, Jake" userId="68c67aa9-53c4-4aab-a03d-c07f0aadf984" providerId="ADAL" clId="{E8B9A4AC-3859-48A6-9E4D-9C49887B00C8}" dt="2023-02-02T23:33:28.167" v="5204" actId="165"/>
          <ac:grpSpMkLst>
            <pc:docMk/>
            <pc:sldMk cId="998687245" sldId="712"/>
            <ac:grpSpMk id="87" creationId="{1E9551D5-010F-40CF-982D-B2A290258760}"/>
          </ac:grpSpMkLst>
        </pc:grpChg>
        <pc:picChg chg="add mod">
          <ac:chgData name="Umholtz, Jake" userId="68c67aa9-53c4-4aab-a03d-c07f0aadf984" providerId="ADAL" clId="{E8B9A4AC-3859-48A6-9E4D-9C49887B00C8}" dt="2023-01-27T19:42:27.288" v="4137" actId="164"/>
          <ac:picMkLst>
            <pc:docMk/>
            <pc:sldMk cId="998687245" sldId="712"/>
            <ac:picMk id="85" creationId="{89FE39B2-8E04-4E65-84FD-486DD03CEB4F}"/>
          </ac:picMkLst>
        </pc:picChg>
      </pc:sldChg>
      <pc:sldChg chg="addSp delSp modSp mod ord modNotesTx">
        <pc:chgData name="Umholtz, Jake" userId="68c67aa9-53c4-4aab-a03d-c07f0aadf984" providerId="ADAL" clId="{E8B9A4AC-3859-48A6-9E4D-9C49887B00C8}" dt="2023-02-03T01:08:56.059" v="7692" actId="6549"/>
        <pc:sldMkLst>
          <pc:docMk/>
          <pc:sldMk cId="2062970365" sldId="765"/>
        </pc:sldMkLst>
        <pc:spChg chg="mod">
          <ac:chgData name="Umholtz, Jake" userId="68c67aa9-53c4-4aab-a03d-c07f0aadf984" providerId="ADAL" clId="{E8B9A4AC-3859-48A6-9E4D-9C49887B00C8}" dt="2023-02-03T01:03:26.040" v="7444" actId="207"/>
          <ac:spMkLst>
            <pc:docMk/>
            <pc:sldMk cId="2062970365" sldId="765"/>
            <ac:spMk id="36" creationId="{334727FF-A5AB-4D2F-ADB2-5D109C4DEFDF}"/>
          </ac:spMkLst>
        </pc:spChg>
        <pc:spChg chg="mod">
          <ac:chgData name="Umholtz, Jake" userId="68c67aa9-53c4-4aab-a03d-c07f0aadf984" providerId="ADAL" clId="{E8B9A4AC-3859-48A6-9E4D-9C49887B00C8}" dt="2023-02-03T01:03:26.040" v="7444" actId="207"/>
          <ac:spMkLst>
            <pc:docMk/>
            <pc:sldMk cId="2062970365" sldId="765"/>
            <ac:spMk id="37" creationId="{08975E5D-3BF8-4E1D-BA2B-6B1FB6F0CD7C}"/>
          </ac:spMkLst>
        </pc:spChg>
        <pc:spChg chg="mod">
          <ac:chgData name="Umholtz, Jake" userId="68c67aa9-53c4-4aab-a03d-c07f0aadf984" providerId="ADAL" clId="{E8B9A4AC-3859-48A6-9E4D-9C49887B00C8}" dt="2023-02-03T01:03:26.040" v="7444" actId="207"/>
          <ac:spMkLst>
            <pc:docMk/>
            <pc:sldMk cId="2062970365" sldId="765"/>
            <ac:spMk id="38" creationId="{380E589B-D712-42FC-9A16-106449747498}"/>
          </ac:spMkLst>
        </pc:spChg>
        <pc:spChg chg="mod">
          <ac:chgData name="Umholtz, Jake" userId="68c67aa9-53c4-4aab-a03d-c07f0aadf984" providerId="ADAL" clId="{E8B9A4AC-3859-48A6-9E4D-9C49887B00C8}" dt="2023-02-03T01:03:26.040" v="7444" actId="207"/>
          <ac:spMkLst>
            <pc:docMk/>
            <pc:sldMk cId="2062970365" sldId="765"/>
            <ac:spMk id="39" creationId="{6B44462D-78F2-4032-8D21-2F0CCBC0E04C}"/>
          </ac:spMkLst>
        </pc:spChg>
        <pc:spChg chg="mod">
          <ac:chgData name="Umholtz, Jake" userId="68c67aa9-53c4-4aab-a03d-c07f0aadf984" providerId="ADAL" clId="{E8B9A4AC-3859-48A6-9E4D-9C49887B00C8}" dt="2023-02-03T01:00:42.664" v="7393" actId="404"/>
          <ac:spMkLst>
            <pc:docMk/>
            <pc:sldMk cId="2062970365" sldId="765"/>
            <ac:spMk id="57" creationId="{7D0D2AA2-B901-4EDC-AEE4-B17C5951AE2A}"/>
          </ac:spMkLst>
        </pc:spChg>
        <pc:spChg chg="mod">
          <ac:chgData name="Umholtz, Jake" userId="68c67aa9-53c4-4aab-a03d-c07f0aadf984" providerId="ADAL" clId="{E8B9A4AC-3859-48A6-9E4D-9C49887B00C8}" dt="2023-01-27T20:01:12.818" v="4713" actId="20577"/>
          <ac:spMkLst>
            <pc:docMk/>
            <pc:sldMk cId="2062970365" sldId="765"/>
            <ac:spMk id="58" creationId="{5BA15D00-C27B-48EA-B8E9-E09F2787227B}"/>
          </ac:spMkLst>
        </pc:spChg>
        <pc:spChg chg="del mod topLvl">
          <ac:chgData name="Umholtz, Jake" userId="68c67aa9-53c4-4aab-a03d-c07f0aadf984" providerId="ADAL" clId="{E8B9A4AC-3859-48A6-9E4D-9C49887B00C8}" dt="2023-02-03T01:08:40.197" v="7642" actId="478"/>
          <ac:spMkLst>
            <pc:docMk/>
            <pc:sldMk cId="2062970365" sldId="765"/>
            <ac:spMk id="65" creationId="{6E1F29B5-2A47-407D-BC79-B879E49C18CF}"/>
          </ac:spMkLst>
        </pc:spChg>
        <pc:spChg chg="del mod topLvl">
          <ac:chgData name="Umholtz, Jake" userId="68c67aa9-53c4-4aab-a03d-c07f0aadf984" providerId="ADAL" clId="{E8B9A4AC-3859-48A6-9E4D-9C49887B00C8}" dt="2023-02-03T01:08:37.923" v="7641" actId="478"/>
          <ac:spMkLst>
            <pc:docMk/>
            <pc:sldMk cId="2062970365" sldId="765"/>
            <ac:spMk id="66" creationId="{4E0641F0-7BAF-4E7C-B434-6305F5F405E8}"/>
          </ac:spMkLst>
        </pc:spChg>
        <pc:spChg chg="del">
          <ac:chgData name="Umholtz, Jake" userId="68c67aa9-53c4-4aab-a03d-c07f0aadf984" providerId="ADAL" clId="{E8B9A4AC-3859-48A6-9E4D-9C49887B00C8}" dt="2023-01-27T20:03:31.664" v="5042" actId="478"/>
          <ac:spMkLst>
            <pc:docMk/>
            <pc:sldMk cId="2062970365" sldId="765"/>
            <ac:spMk id="100" creationId="{D818A44A-E511-45D4-B2D6-5461597CA302}"/>
          </ac:spMkLst>
        </pc:spChg>
        <pc:spChg chg="mod">
          <ac:chgData name="Umholtz, Jake" userId="68c67aa9-53c4-4aab-a03d-c07f0aadf984" providerId="ADAL" clId="{E8B9A4AC-3859-48A6-9E4D-9C49887B00C8}" dt="2023-02-03T01:08:50.300" v="7691" actId="1038"/>
          <ac:spMkLst>
            <pc:docMk/>
            <pc:sldMk cId="2062970365" sldId="765"/>
            <ac:spMk id="101" creationId="{7AA53DAB-12EB-4497-A3D2-F221665D8D86}"/>
          </ac:spMkLst>
        </pc:spChg>
        <pc:spChg chg="mod">
          <ac:chgData name="Umholtz, Jake" userId="68c67aa9-53c4-4aab-a03d-c07f0aadf984" providerId="ADAL" clId="{E8B9A4AC-3859-48A6-9E4D-9C49887B00C8}" dt="2023-02-03T01:08:50.300" v="7691" actId="1038"/>
          <ac:spMkLst>
            <pc:docMk/>
            <pc:sldMk cId="2062970365" sldId="765"/>
            <ac:spMk id="107" creationId="{3D2F90D7-A13A-4887-A373-3BE0BEC51615}"/>
          </ac:spMkLst>
        </pc:spChg>
        <pc:spChg chg="del">
          <ac:chgData name="Umholtz, Jake" userId="68c67aa9-53c4-4aab-a03d-c07f0aadf984" providerId="ADAL" clId="{E8B9A4AC-3859-48A6-9E4D-9C49887B00C8}" dt="2023-01-27T20:03:34.749" v="5045" actId="478"/>
          <ac:spMkLst>
            <pc:docMk/>
            <pc:sldMk cId="2062970365" sldId="765"/>
            <ac:spMk id="108" creationId="{29EF69E9-7F38-4B85-9F75-DB513DB8A8DA}"/>
          </ac:spMkLst>
        </pc:spChg>
        <pc:spChg chg="del mod">
          <ac:chgData name="Umholtz, Jake" userId="68c67aa9-53c4-4aab-a03d-c07f0aadf984" providerId="ADAL" clId="{E8B9A4AC-3859-48A6-9E4D-9C49887B00C8}" dt="2023-01-27T20:03:33.850" v="5044" actId="478"/>
          <ac:spMkLst>
            <pc:docMk/>
            <pc:sldMk cId="2062970365" sldId="765"/>
            <ac:spMk id="110" creationId="{1CC600D2-1B61-42B8-A53D-A0A30767A817}"/>
          </ac:spMkLst>
        </pc:spChg>
        <pc:spChg chg="mod">
          <ac:chgData name="Umholtz, Jake" userId="68c67aa9-53c4-4aab-a03d-c07f0aadf984" providerId="ADAL" clId="{E8B9A4AC-3859-48A6-9E4D-9C49887B00C8}" dt="2023-02-03T01:08:50.300" v="7691" actId="1038"/>
          <ac:spMkLst>
            <pc:docMk/>
            <pc:sldMk cId="2062970365" sldId="765"/>
            <ac:spMk id="111" creationId="{638C9B80-D9F8-4D8D-91B0-36D6AB20E6B8}"/>
          </ac:spMkLst>
        </pc:spChg>
        <pc:spChg chg="mod">
          <ac:chgData name="Umholtz, Jake" userId="68c67aa9-53c4-4aab-a03d-c07f0aadf984" providerId="ADAL" clId="{E8B9A4AC-3859-48A6-9E4D-9C49887B00C8}" dt="2023-02-03T01:08:50.300" v="7691" actId="1038"/>
          <ac:spMkLst>
            <pc:docMk/>
            <pc:sldMk cId="2062970365" sldId="765"/>
            <ac:spMk id="114" creationId="{27443C9F-6F38-41D1-9AF7-CF5253A53CFD}"/>
          </ac:spMkLst>
        </pc:spChg>
        <pc:spChg chg="del">
          <ac:chgData name="Umholtz, Jake" userId="68c67aa9-53c4-4aab-a03d-c07f0aadf984" providerId="ADAL" clId="{E8B9A4AC-3859-48A6-9E4D-9C49887B00C8}" dt="2023-01-27T20:03:37.962" v="5047" actId="478"/>
          <ac:spMkLst>
            <pc:docMk/>
            <pc:sldMk cId="2062970365" sldId="765"/>
            <ac:spMk id="115" creationId="{F92BC711-077A-4D01-94DA-7128D3D3BB6A}"/>
          </ac:spMkLst>
        </pc:spChg>
        <pc:spChg chg="del">
          <ac:chgData name="Umholtz, Jake" userId="68c67aa9-53c4-4aab-a03d-c07f0aadf984" providerId="ADAL" clId="{E8B9A4AC-3859-48A6-9E4D-9C49887B00C8}" dt="2023-01-27T20:03:28.744" v="5039" actId="478"/>
          <ac:spMkLst>
            <pc:docMk/>
            <pc:sldMk cId="2062970365" sldId="765"/>
            <ac:spMk id="116" creationId="{D4EDFEF8-557F-49C3-A558-7FE3B642AC34}"/>
          </ac:spMkLst>
        </pc:spChg>
        <pc:spChg chg="mod">
          <ac:chgData name="Umholtz, Jake" userId="68c67aa9-53c4-4aab-a03d-c07f0aadf984" providerId="ADAL" clId="{E8B9A4AC-3859-48A6-9E4D-9C49887B00C8}" dt="2023-02-03T01:02:53.291" v="7403" actId="1076"/>
          <ac:spMkLst>
            <pc:docMk/>
            <pc:sldMk cId="2062970365" sldId="765"/>
            <ac:spMk id="134" creationId="{4AB60942-A244-4F0B-8B45-012B9C782162}"/>
          </ac:spMkLst>
        </pc:spChg>
        <pc:spChg chg="mod">
          <ac:chgData name="Umholtz, Jake" userId="68c67aa9-53c4-4aab-a03d-c07f0aadf984" providerId="ADAL" clId="{E8B9A4AC-3859-48A6-9E4D-9C49887B00C8}" dt="2023-02-03T01:08:50.300" v="7691" actId="1038"/>
          <ac:spMkLst>
            <pc:docMk/>
            <pc:sldMk cId="2062970365" sldId="765"/>
            <ac:spMk id="150" creationId="{37F4D018-52D1-43F5-90FA-FD3489D874A2}"/>
          </ac:spMkLst>
        </pc:spChg>
        <pc:spChg chg="del">
          <ac:chgData name="Umholtz, Jake" userId="68c67aa9-53c4-4aab-a03d-c07f0aadf984" providerId="ADAL" clId="{E8B9A4AC-3859-48A6-9E4D-9C49887B00C8}" dt="2023-01-27T20:03:35.872" v="5046" actId="478"/>
          <ac:spMkLst>
            <pc:docMk/>
            <pc:sldMk cId="2062970365" sldId="765"/>
            <ac:spMk id="151" creationId="{1B2D7A2E-05BD-40D9-B7DD-7C6514CD2561}"/>
          </ac:spMkLst>
        </pc:spChg>
        <pc:grpChg chg="add mod">
          <ac:chgData name="Umholtz, Jake" userId="68c67aa9-53c4-4aab-a03d-c07f0aadf984" providerId="ADAL" clId="{E8B9A4AC-3859-48A6-9E4D-9C49887B00C8}" dt="2023-02-03T01:08:50.300" v="7691" actId="1038"/>
          <ac:grpSpMkLst>
            <pc:docMk/>
            <pc:sldMk cId="2062970365" sldId="765"/>
            <ac:grpSpMk id="35" creationId="{D741A6AF-AC15-4184-9C4F-A215303D7E7B}"/>
          </ac:grpSpMkLst>
        </pc:grpChg>
        <pc:grpChg chg="add del mod">
          <ac:chgData name="Umholtz, Jake" userId="68c67aa9-53c4-4aab-a03d-c07f0aadf984" providerId="ADAL" clId="{E8B9A4AC-3859-48A6-9E4D-9C49887B00C8}" dt="2023-02-03T01:08:37.923" v="7641" actId="478"/>
          <ac:grpSpMkLst>
            <pc:docMk/>
            <pc:sldMk cId="2062970365" sldId="765"/>
            <ac:grpSpMk id="64" creationId="{648ACFF1-B94E-4D71-9D69-64E86E34FE8F}"/>
          </ac:grpSpMkLst>
        </pc:grpChg>
        <pc:grpChg chg="mod">
          <ac:chgData name="Umholtz, Jake" userId="68c67aa9-53c4-4aab-a03d-c07f0aadf984" providerId="ADAL" clId="{E8B9A4AC-3859-48A6-9E4D-9C49887B00C8}" dt="2023-02-03T01:08:50.300" v="7691" actId="1038"/>
          <ac:grpSpMkLst>
            <pc:docMk/>
            <pc:sldMk cId="2062970365" sldId="765"/>
            <ac:grpSpMk id="72" creationId="{8BCCA547-9AF3-4E93-8FD3-998E0C6BAD23}"/>
          </ac:grpSpMkLst>
        </pc:grpChg>
        <pc:grpChg chg="del">
          <ac:chgData name="Umholtz, Jake" userId="68c67aa9-53c4-4aab-a03d-c07f0aadf984" providerId="ADAL" clId="{E8B9A4AC-3859-48A6-9E4D-9C49887B00C8}" dt="2023-02-03T01:02:26.291" v="7396" actId="478"/>
          <ac:grpSpMkLst>
            <pc:docMk/>
            <pc:sldMk cId="2062970365" sldId="765"/>
            <ac:grpSpMk id="93" creationId="{409CCE87-169D-4685-AAD1-8CF87A54736A}"/>
          </ac:grpSpMkLst>
        </pc:grpChg>
        <pc:grpChg chg="del">
          <ac:chgData name="Umholtz, Jake" userId="68c67aa9-53c4-4aab-a03d-c07f0aadf984" providerId="ADAL" clId="{E8B9A4AC-3859-48A6-9E4D-9C49887B00C8}" dt="2023-01-27T20:03:30.131" v="5041" actId="478"/>
          <ac:grpSpMkLst>
            <pc:docMk/>
            <pc:sldMk cId="2062970365" sldId="765"/>
            <ac:grpSpMk id="96" creationId="{81697C8D-B5B6-42B9-835D-05E7612B10B7}"/>
          </ac:grpSpMkLst>
        </pc:grpChg>
        <pc:grpChg chg="del">
          <ac:chgData name="Umholtz, Jake" userId="68c67aa9-53c4-4aab-a03d-c07f0aadf984" providerId="ADAL" clId="{E8B9A4AC-3859-48A6-9E4D-9C49887B00C8}" dt="2023-01-27T20:03:27.363" v="5038" actId="478"/>
          <ac:grpSpMkLst>
            <pc:docMk/>
            <pc:sldMk cId="2062970365" sldId="765"/>
            <ac:grpSpMk id="103" creationId="{DC901FAF-7BD2-4360-BE3C-99A92173C6F3}"/>
          </ac:grpSpMkLst>
        </pc:grpChg>
        <pc:grpChg chg="mod">
          <ac:chgData name="Umholtz, Jake" userId="68c67aa9-53c4-4aab-a03d-c07f0aadf984" providerId="ADAL" clId="{E8B9A4AC-3859-48A6-9E4D-9C49887B00C8}" dt="2023-02-03T01:08:50.300" v="7691" actId="1038"/>
          <ac:grpSpMkLst>
            <pc:docMk/>
            <pc:sldMk cId="2062970365" sldId="765"/>
            <ac:grpSpMk id="126" creationId="{A6664128-FFF9-4B21-8A4E-12599E521DD0}"/>
          </ac:grpSpMkLst>
        </pc:grpChg>
        <pc:grpChg chg="mod">
          <ac:chgData name="Umholtz, Jake" userId="68c67aa9-53c4-4aab-a03d-c07f0aadf984" providerId="ADAL" clId="{E8B9A4AC-3859-48A6-9E4D-9C49887B00C8}" dt="2023-02-03T01:08:50.300" v="7691" actId="1038"/>
          <ac:grpSpMkLst>
            <pc:docMk/>
            <pc:sldMk cId="2062970365" sldId="765"/>
            <ac:grpSpMk id="130" creationId="{B5416F2C-AE2C-4787-B0F9-06E24C1BCA16}"/>
          </ac:grpSpMkLst>
        </pc:grpChg>
        <pc:grpChg chg="del">
          <ac:chgData name="Umholtz, Jake" userId="68c67aa9-53c4-4aab-a03d-c07f0aadf984" providerId="ADAL" clId="{E8B9A4AC-3859-48A6-9E4D-9C49887B00C8}" dt="2023-01-27T20:03:26.375" v="5037" actId="478"/>
          <ac:grpSpMkLst>
            <pc:docMk/>
            <pc:sldMk cId="2062970365" sldId="765"/>
            <ac:grpSpMk id="135" creationId="{583E8883-3086-48B1-8236-60731D417E74}"/>
          </ac:grpSpMkLst>
        </pc:grpChg>
        <pc:grpChg chg="del">
          <ac:chgData name="Umholtz, Jake" userId="68c67aa9-53c4-4aab-a03d-c07f0aadf984" providerId="ADAL" clId="{E8B9A4AC-3859-48A6-9E4D-9C49887B00C8}" dt="2023-01-27T20:03:29.392" v="5040" actId="478"/>
          <ac:grpSpMkLst>
            <pc:docMk/>
            <pc:sldMk cId="2062970365" sldId="765"/>
            <ac:grpSpMk id="140" creationId="{2746340E-86D4-41CA-93A9-4E98D191BE05}"/>
          </ac:grpSpMkLst>
        </pc:grpChg>
      </pc:sldChg>
      <pc:sldChg chg="addSp delSp modSp new del mod">
        <pc:chgData name="Umholtz, Jake" userId="68c67aa9-53c4-4aab-a03d-c07f0aadf984" providerId="ADAL" clId="{E8B9A4AC-3859-48A6-9E4D-9C49887B00C8}" dt="2023-01-27T16:22:48.326" v="142" actId="47"/>
        <pc:sldMkLst>
          <pc:docMk/>
          <pc:sldMk cId="3273134848" sldId="766"/>
        </pc:sldMkLst>
        <pc:spChg chg="del">
          <ac:chgData name="Umholtz, Jake" userId="68c67aa9-53c4-4aab-a03d-c07f0aadf984" providerId="ADAL" clId="{E8B9A4AC-3859-48A6-9E4D-9C49887B00C8}" dt="2023-01-27T16:15:18.756" v="88" actId="478"/>
          <ac:spMkLst>
            <pc:docMk/>
            <pc:sldMk cId="3273134848" sldId="766"/>
            <ac:spMk id="2" creationId="{106A291C-B616-4175-8920-4E4FD6C220EC}"/>
          </ac:spMkLst>
        </pc:spChg>
        <pc:spChg chg="del">
          <ac:chgData name="Umholtz, Jake" userId="68c67aa9-53c4-4aab-a03d-c07f0aadf984" providerId="ADAL" clId="{E8B9A4AC-3859-48A6-9E4D-9C49887B00C8}" dt="2023-01-27T16:15:19.612" v="89" actId="478"/>
          <ac:spMkLst>
            <pc:docMk/>
            <pc:sldMk cId="3273134848" sldId="766"/>
            <ac:spMk id="3" creationId="{C752CDDA-5AF7-4B7F-998B-D4D8AA6CC128}"/>
          </ac:spMkLst>
        </pc:spChg>
        <pc:spChg chg="del">
          <ac:chgData name="Umholtz, Jake" userId="68c67aa9-53c4-4aab-a03d-c07f0aadf984" providerId="ADAL" clId="{E8B9A4AC-3859-48A6-9E4D-9C49887B00C8}" dt="2023-01-27T16:15:20.579" v="90" actId="478"/>
          <ac:spMkLst>
            <pc:docMk/>
            <pc:sldMk cId="3273134848" sldId="766"/>
            <ac:spMk id="4" creationId="{18C1F47A-61B5-4D93-B02C-2A20CDC7A2FF}"/>
          </ac:spMkLst>
        </pc:spChg>
        <pc:spChg chg="add del">
          <ac:chgData name="Umholtz, Jake" userId="68c67aa9-53c4-4aab-a03d-c07f0aadf984" providerId="ADAL" clId="{E8B9A4AC-3859-48A6-9E4D-9C49887B00C8}" dt="2023-01-27T16:15:48.637" v="92" actId="478"/>
          <ac:spMkLst>
            <pc:docMk/>
            <pc:sldMk cId="3273134848" sldId="766"/>
            <ac:spMk id="5" creationId="{2D3FD0F6-51C0-4448-9C1A-C52BE9FFEC8D}"/>
          </ac:spMkLst>
        </pc:spChg>
        <pc:spChg chg="add mod">
          <ac:chgData name="Umholtz, Jake" userId="68c67aa9-53c4-4aab-a03d-c07f0aadf984" providerId="ADAL" clId="{E8B9A4AC-3859-48A6-9E4D-9C49887B00C8}" dt="2023-01-27T16:16:42.912" v="100" actId="208"/>
          <ac:spMkLst>
            <pc:docMk/>
            <pc:sldMk cId="3273134848" sldId="766"/>
            <ac:spMk id="6" creationId="{2AF6EEB7-29B2-4B0E-AFC3-235C65D0C3FA}"/>
          </ac:spMkLst>
        </pc:spChg>
        <pc:spChg chg="add mod">
          <ac:chgData name="Umholtz, Jake" userId="68c67aa9-53c4-4aab-a03d-c07f0aadf984" providerId="ADAL" clId="{E8B9A4AC-3859-48A6-9E4D-9C49887B00C8}" dt="2023-01-27T16:18:50.598" v="108" actId="207"/>
          <ac:spMkLst>
            <pc:docMk/>
            <pc:sldMk cId="3273134848" sldId="766"/>
            <ac:spMk id="7" creationId="{4B0F9EE3-1B01-49C7-9E61-2B1D89AED2C6}"/>
          </ac:spMkLst>
        </pc:spChg>
      </pc:sldChg>
      <pc:sldChg chg="addSp delSp modSp new del mod ord">
        <pc:chgData name="Umholtz, Jake" userId="68c67aa9-53c4-4aab-a03d-c07f0aadf984" providerId="ADAL" clId="{E8B9A4AC-3859-48A6-9E4D-9C49887B00C8}" dt="2023-02-03T00:54:11.198" v="7391" actId="47"/>
        <pc:sldMkLst>
          <pc:docMk/>
          <pc:sldMk cId="463626703" sldId="767"/>
        </pc:sldMkLst>
        <pc:spChg chg="del">
          <ac:chgData name="Umholtz, Jake" userId="68c67aa9-53c4-4aab-a03d-c07f0aadf984" providerId="ADAL" clId="{E8B9A4AC-3859-48A6-9E4D-9C49887B00C8}" dt="2023-01-27T16:19:02.412" v="110" actId="478"/>
          <ac:spMkLst>
            <pc:docMk/>
            <pc:sldMk cId="463626703" sldId="767"/>
            <ac:spMk id="2" creationId="{3E898629-0A39-4026-9339-878A7F08BB30}"/>
          </ac:spMkLst>
        </pc:spChg>
        <pc:spChg chg="del">
          <ac:chgData name="Umholtz, Jake" userId="68c67aa9-53c4-4aab-a03d-c07f0aadf984" providerId="ADAL" clId="{E8B9A4AC-3859-48A6-9E4D-9C49887B00C8}" dt="2023-01-27T16:19:04.098" v="111" actId="478"/>
          <ac:spMkLst>
            <pc:docMk/>
            <pc:sldMk cId="463626703" sldId="767"/>
            <ac:spMk id="3" creationId="{F5021339-235D-4810-8C31-2AB2008ABF2E}"/>
          </ac:spMkLst>
        </pc:spChg>
        <pc:spChg chg="mod">
          <ac:chgData name="Umholtz, Jake" userId="68c67aa9-53c4-4aab-a03d-c07f0aadf984" providerId="ADAL" clId="{E8B9A4AC-3859-48A6-9E4D-9C49887B00C8}" dt="2023-01-27T16:23:08.756" v="171" actId="1076"/>
          <ac:spMkLst>
            <pc:docMk/>
            <pc:sldMk cId="463626703" sldId="767"/>
            <ac:spMk id="4" creationId="{3A69E7BE-F642-4619-91DD-5EEA1EA73EE8}"/>
          </ac:spMkLst>
        </pc:spChg>
        <pc:spChg chg="add del mod">
          <ac:chgData name="Umholtz, Jake" userId="68c67aa9-53c4-4aab-a03d-c07f0aadf984" providerId="ADAL" clId="{E8B9A4AC-3859-48A6-9E4D-9C49887B00C8}" dt="2023-01-27T16:21:36.853" v="137" actId="478"/>
          <ac:spMkLst>
            <pc:docMk/>
            <pc:sldMk cId="463626703" sldId="767"/>
            <ac:spMk id="5" creationId="{FF3FCB53-6000-496F-AD3E-E305EE715120}"/>
          </ac:spMkLst>
        </pc:spChg>
        <pc:spChg chg="add mod">
          <ac:chgData name="Umholtz, Jake" userId="68c67aa9-53c4-4aab-a03d-c07f0aadf984" providerId="ADAL" clId="{E8B9A4AC-3859-48A6-9E4D-9C49887B00C8}" dt="2023-01-27T16:22:33.896" v="141" actId="14100"/>
          <ac:spMkLst>
            <pc:docMk/>
            <pc:sldMk cId="463626703" sldId="767"/>
            <ac:spMk id="6" creationId="{C783609B-A495-446E-A84A-5FE366F5A4F1}"/>
          </ac:spMkLst>
        </pc:spChg>
        <pc:spChg chg="add mod">
          <ac:chgData name="Umholtz, Jake" userId="68c67aa9-53c4-4aab-a03d-c07f0aadf984" providerId="ADAL" clId="{E8B9A4AC-3859-48A6-9E4D-9C49887B00C8}" dt="2023-01-27T16:24:27.282" v="235" actId="14100"/>
          <ac:spMkLst>
            <pc:docMk/>
            <pc:sldMk cId="463626703" sldId="767"/>
            <ac:spMk id="9" creationId="{F7616FE4-F849-4098-9102-649ACC5BCADD}"/>
          </ac:spMkLst>
        </pc:spChg>
        <pc:picChg chg="add mod modCrop">
          <ac:chgData name="Umholtz, Jake" userId="68c67aa9-53c4-4aab-a03d-c07f0aadf984" providerId="ADAL" clId="{E8B9A4AC-3859-48A6-9E4D-9C49887B00C8}" dt="2023-01-27T16:24:34.880" v="236" actId="1076"/>
          <ac:picMkLst>
            <pc:docMk/>
            <pc:sldMk cId="463626703" sldId="767"/>
            <ac:picMk id="8" creationId="{92D75E68-1D20-4679-A054-85B09BAD8078}"/>
          </ac:picMkLst>
        </pc:picChg>
      </pc:sldChg>
      <pc:sldChg chg="addSp delSp modSp add del mod ord">
        <pc:chgData name="Umholtz, Jake" userId="68c67aa9-53c4-4aab-a03d-c07f0aadf984" providerId="ADAL" clId="{E8B9A4AC-3859-48A6-9E4D-9C49887B00C8}" dt="2023-02-03T00:54:05.664" v="7390" actId="47"/>
        <pc:sldMkLst>
          <pc:docMk/>
          <pc:sldMk cId="1181805275" sldId="768"/>
        </pc:sldMkLst>
        <pc:spChg chg="mod">
          <ac:chgData name="Umholtz, Jake" userId="68c67aa9-53c4-4aab-a03d-c07f0aadf984" providerId="ADAL" clId="{E8B9A4AC-3859-48A6-9E4D-9C49887B00C8}" dt="2023-01-27T16:27:47.340" v="278" actId="207"/>
          <ac:spMkLst>
            <pc:docMk/>
            <pc:sldMk cId="1181805275" sldId="768"/>
            <ac:spMk id="2" creationId="{1A53A8AD-38C0-4854-81B3-9B99B4E007ED}"/>
          </ac:spMkLst>
        </pc:spChg>
        <pc:spChg chg="mod">
          <ac:chgData name="Umholtz, Jake" userId="68c67aa9-53c4-4aab-a03d-c07f0aadf984" providerId="ADAL" clId="{E8B9A4AC-3859-48A6-9E4D-9C49887B00C8}" dt="2023-01-27T16:27:36.721" v="277" actId="207"/>
          <ac:spMkLst>
            <pc:docMk/>
            <pc:sldMk cId="1181805275" sldId="768"/>
            <ac:spMk id="12" creationId="{3B27BBB1-DF3D-4BD5-AA06-CB0B871495A9}"/>
          </ac:spMkLst>
        </pc:spChg>
        <pc:picChg chg="add del mod modCrop">
          <ac:chgData name="Umholtz, Jake" userId="68c67aa9-53c4-4aab-a03d-c07f0aadf984" providerId="ADAL" clId="{E8B9A4AC-3859-48A6-9E4D-9C49887B00C8}" dt="2023-01-27T16:32:40.210" v="303" actId="478"/>
          <ac:picMkLst>
            <pc:docMk/>
            <pc:sldMk cId="1181805275" sldId="768"/>
            <ac:picMk id="4" creationId="{EAAAB43E-FCC2-4023-88B0-0C56EEB33F1E}"/>
          </ac:picMkLst>
        </pc:picChg>
        <pc:picChg chg="add mod">
          <ac:chgData name="Umholtz, Jake" userId="68c67aa9-53c4-4aab-a03d-c07f0aadf984" providerId="ADAL" clId="{E8B9A4AC-3859-48A6-9E4D-9C49887B00C8}" dt="2023-01-27T16:33:07.634" v="309" actId="1076"/>
          <ac:picMkLst>
            <pc:docMk/>
            <pc:sldMk cId="1181805275" sldId="768"/>
            <ac:picMk id="7" creationId="{5294C213-EAD0-4D79-9F8F-316A3E0900C5}"/>
          </ac:picMkLst>
        </pc:picChg>
        <pc:picChg chg="del">
          <ac:chgData name="Umholtz, Jake" userId="68c67aa9-53c4-4aab-a03d-c07f0aadf984" providerId="ADAL" clId="{E8B9A4AC-3859-48A6-9E4D-9C49887B00C8}" dt="2023-01-27T16:28:08.225" v="280" actId="478"/>
          <ac:picMkLst>
            <pc:docMk/>
            <pc:sldMk cId="1181805275" sldId="768"/>
            <ac:picMk id="11" creationId="{1D0A60AF-1142-497E-AB79-C4FA9931AAFD}"/>
          </ac:picMkLst>
        </pc:picChg>
      </pc:sldChg>
      <pc:sldChg chg="addSp modSp add del mod ord">
        <pc:chgData name="Umholtz, Jake" userId="68c67aa9-53c4-4aab-a03d-c07f0aadf984" providerId="ADAL" clId="{E8B9A4AC-3859-48A6-9E4D-9C49887B00C8}" dt="2023-02-02T23:13:06.966" v="5185" actId="47"/>
        <pc:sldMkLst>
          <pc:docMk/>
          <pc:sldMk cId="2228720617" sldId="948"/>
        </pc:sldMkLst>
        <pc:spChg chg="add mod">
          <ac:chgData name="Umholtz, Jake" userId="68c67aa9-53c4-4aab-a03d-c07f0aadf984" providerId="ADAL" clId="{E8B9A4AC-3859-48A6-9E4D-9C49887B00C8}" dt="2023-01-27T17:40:28.540" v="804" actId="1076"/>
          <ac:spMkLst>
            <pc:docMk/>
            <pc:sldMk cId="2228720617" sldId="948"/>
            <ac:spMk id="35" creationId="{75B61482-E242-4D13-822E-94B8ACE7217F}"/>
          </ac:spMkLst>
        </pc:spChg>
        <pc:spChg chg="add mod">
          <ac:chgData name="Umholtz, Jake" userId="68c67aa9-53c4-4aab-a03d-c07f0aadf984" providerId="ADAL" clId="{E8B9A4AC-3859-48A6-9E4D-9C49887B00C8}" dt="2023-01-27T17:39:38.938" v="766" actId="20577"/>
          <ac:spMkLst>
            <pc:docMk/>
            <pc:sldMk cId="2228720617" sldId="948"/>
            <ac:spMk id="36" creationId="{A707294C-68E0-4040-B622-F2932679EBE5}"/>
          </ac:spMkLst>
        </pc:spChg>
        <pc:spChg chg="mod">
          <ac:chgData name="Umholtz, Jake" userId="68c67aa9-53c4-4aab-a03d-c07f0aadf984" providerId="ADAL" clId="{E8B9A4AC-3859-48A6-9E4D-9C49887B00C8}" dt="2023-01-27T17:46:03.510" v="1189" actId="20577"/>
          <ac:spMkLst>
            <pc:docMk/>
            <pc:sldMk cId="2228720617" sldId="948"/>
            <ac:spMk id="56" creationId="{216BAB7D-8CF0-4958-B853-3BBBF39F2993}"/>
          </ac:spMkLst>
        </pc:spChg>
        <pc:spChg chg="mod">
          <ac:chgData name="Umholtz, Jake" userId="68c67aa9-53c4-4aab-a03d-c07f0aadf984" providerId="ADAL" clId="{E8B9A4AC-3859-48A6-9E4D-9C49887B00C8}" dt="2023-01-27T17:51:05.191" v="1464" actId="20577"/>
          <ac:spMkLst>
            <pc:docMk/>
            <pc:sldMk cId="2228720617" sldId="948"/>
            <ac:spMk id="57" creationId="{9B9F4C6E-BDA3-48BB-9C55-A9875CB08913}"/>
          </ac:spMkLst>
        </pc:spChg>
        <pc:spChg chg="mod">
          <ac:chgData name="Umholtz, Jake" userId="68c67aa9-53c4-4aab-a03d-c07f0aadf984" providerId="ADAL" clId="{E8B9A4AC-3859-48A6-9E4D-9C49887B00C8}" dt="2023-01-27T17:53:58.268" v="1655" actId="20577"/>
          <ac:spMkLst>
            <pc:docMk/>
            <pc:sldMk cId="2228720617" sldId="948"/>
            <ac:spMk id="58" creationId="{56F36C14-09EB-4848-88F3-795816C1804E}"/>
          </ac:spMkLst>
        </pc:spChg>
        <pc:spChg chg="mod">
          <ac:chgData name="Umholtz, Jake" userId="68c67aa9-53c4-4aab-a03d-c07f0aadf984" providerId="ADAL" clId="{E8B9A4AC-3859-48A6-9E4D-9C49887B00C8}" dt="2023-01-27T17:52:38.748" v="1567" actId="20577"/>
          <ac:spMkLst>
            <pc:docMk/>
            <pc:sldMk cId="2228720617" sldId="948"/>
            <ac:spMk id="59" creationId="{500C1451-A3AF-4B5C-9066-06646ABD8BFB}"/>
          </ac:spMkLst>
        </pc:spChg>
        <pc:spChg chg="mod">
          <ac:chgData name="Umholtz, Jake" userId="68c67aa9-53c4-4aab-a03d-c07f0aadf984" providerId="ADAL" clId="{E8B9A4AC-3859-48A6-9E4D-9C49887B00C8}" dt="2023-01-27T17:49:40.887" v="1288" actId="20577"/>
          <ac:spMkLst>
            <pc:docMk/>
            <pc:sldMk cId="2228720617" sldId="948"/>
            <ac:spMk id="60" creationId="{94D5BAF8-6119-4C9E-BFD5-DD6728FE3494}"/>
          </ac:spMkLst>
        </pc:spChg>
        <pc:spChg chg="mod">
          <ac:chgData name="Umholtz, Jake" userId="68c67aa9-53c4-4aab-a03d-c07f0aadf984" providerId="ADAL" clId="{E8B9A4AC-3859-48A6-9E4D-9C49887B00C8}" dt="2023-01-27T17:43:15.644" v="1052" actId="313"/>
          <ac:spMkLst>
            <pc:docMk/>
            <pc:sldMk cId="2228720617" sldId="948"/>
            <ac:spMk id="61" creationId="{BB3C572F-A3F2-4C53-B4D6-F35D9633688C}"/>
          </ac:spMkLst>
        </pc:spChg>
        <pc:cxnChg chg="mod">
          <ac:chgData name="Umholtz, Jake" userId="68c67aa9-53c4-4aab-a03d-c07f0aadf984" providerId="ADAL" clId="{E8B9A4AC-3859-48A6-9E4D-9C49887B00C8}" dt="2023-01-27T17:45:49.196" v="1152" actId="20577"/>
          <ac:cxnSpMkLst>
            <pc:docMk/>
            <pc:sldMk cId="2228720617" sldId="948"/>
            <ac:cxnSpMk id="55" creationId="{ECA588F2-1467-41BC-BCBB-980CDF1C4264}"/>
          </ac:cxnSpMkLst>
        </pc:cxnChg>
        <pc:cxnChg chg="mod">
          <ac:chgData name="Umholtz, Jake" userId="68c67aa9-53c4-4aab-a03d-c07f0aadf984" providerId="ADAL" clId="{E8B9A4AC-3859-48A6-9E4D-9C49887B00C8}" dt="2023-01-27T17:50:55.514" v="1421" actId="20577"/>
          <ac:cxnSpMkLst>
            <pc:docMk/>
            <pc:sldMk cId="2228720617" sldId="948"/>
            <ac:cxnSpMk id="72" creationId="{8412345D-6C93-4723-80B3-6C72DB800E16}"/>
          </ac:cxnSpMkLst>
        </pc:cxnChg>
        <pc:cxnChg chg="mod">
          <ac:chgData name="Umholtz, Jake" userId="68c67aa9-53c4-4aab-a03d-c07f0aadf984" providerId="ADAL" clId="{E8B9A4AC-3859-48A6-9E4D-9C49887B00C8}" dt="2023-01-27T17:53:53.333" v="1647" actId="20577"/>
          <ac:cxnSpMkLst>
            <pc:docMk/>
            <pc:sldMk cId="2228720617" sldId="948"/>
            <ac:cxnSpMk id="76" creationId="{F72CFFDB-5C80-44B0-B832-D0F40895A074}"/>
          </ac:cxnSpMkLst>
        </pc:cxnChg>
        <pc:cxnChg chg="mod">
          <ac:chgData name="Umholtz, Jake" userId="68c67aa9-53c4-4aab-a03d-c07f0aadf984" providerId="ADAL" clId="{E8B9A4AC-3859-48A6-9E4D-9C49887B00C8}" dt="2023-01-27T17:52:29.164" v="1532" actId="20577"/>
          <ac:cxnSpMkLst>
            <pc:docMk/>
            <pc:sldMk cId="2228720617" sldId="948"/>
            <ac:cxnSpMk id="86" creationId="{5FE9F2E8-564D-41BA-8536-9689F0C979FB}"/>
          </ac:cxnSpMkLst>
        </pc:cxnChg>
        <pc:cxnChg chg="mod">
          <ac:chgData name="Umholtz, Jake" userId="68c67aa9-53c4-4aab-a03d-c07f0aadf984" providerId="ADAL" clId="{E8B9A4AC-3859-48A6-9E4D-9C49887B00C8}" dt="2023-01-27T17:49:40.887" v="1288" actId="20577"/>
          <ac:cxnSpMkLst>
            <pc:docMk/>
            <pc:sldMk cId="2228720617" sldId="948"/>
            <ac:cxnSpMk id="90" creationId="{F96095BB-B714-4E3C-AFEC-BB3DCF3B5D5E}"/>
          </ac:cxnSpMkLst>
        </pc:cxnChg>
      </pc:sldChg>
      <pc:sldChg chg="addSp delSp modSp add del mod">
        <pc:chgData name="Umholtz, Jake" userId="68c67aa9-53c4-4aab-a03d-c07f0aadf984" providerId="ADAL" clId="{E8B9A4AC-3859-48A6-9E4D-9C49887B00C8}" dt="2023-01-27T17:57:55.444" v="1669" actId="47"/>
        <pc:sldMkLst>
          <pc:docMk/>
          <pc:sldMk cId="4174648420" sldId="949"/>
        </pc:sldMkLst>
        <pc:picChg chg="add mod">
          <ac:chgData name="Umholtz, Jake" userId="68c67aa9-53c4-4aab-a03d-c07f0aadf984" providerId="ADAL" clId="{E8B9A4AC-3859-48A6-9E4D-9C49887B00C8}" dt="2023-01-27T17:57:26.861" v="1661" actId="1076"/>
          <ac:picMkLst>
            <pc:docMk/>
            <pc:sldMk cId="4174648420" sldId="949"/>
            <ac:picMk id="4" creationId="{7C63394F-0C27-4F96-9AFF-7545C359CB5C}"/>
          </ac:picMkLst>
        </pc:picChg>
        <pc:picChg chg="del">
          <ac:chgData name="Umholtz, Jake" userId="68c67aa9-53c4-4aab-a03d-c07f0aadf984" providerId="ADAL" clId="{E8B9A4AC-3859-48A6-9E4D-9C49887B00C8}" dt="2023-01-27T17:56:41.853" v="1659" actId="478"/>
          <ac:picMkLst>
            <pc:docMk/>
            <pc:sldMk cId="4174648420" sldId="949"/>
            <ac:picMk id="7" creationId="{5294C213-EAD0-4D79-9F8F-316A3E0900C5}"/>
          </ac:picMkLst>
        </pc:picChg>
      </pc:sldChg>
      <pc:sldChg chg="addSp modSp add del mod">
        <pc:chgData name="Umholtz, Jake" userId="68c67aa9-53c4-4aab-a03d-c07f0aadf984" providerId="ADAL" clId="{E8B9A4AC-3859-48A6-9E4D-9C49887B00C8}" dt="2023-02-03T01:09:12.162" v="7695" actId="47"/>
        <pc:sldMkLst>
          <pc:docMk/>
          <pc:sldMk cId="3975684888" sldId="950"/>
        </pc:sldMkLst>
        <pc:picChg chg="add mod">
          <ac:chgData name="Umholtz, Jake" userId="68c67aa9-53c4-4aab-a03d-c07f0aadf984" providerId="ADAL" clId="{E8B9A4AC-3859-48A6-9E4D-9C49887B00C8}" dt="2023-01-27T17:57:48.417" v="1668" actId="1076"/>
          <ac:picMkLst>
            <pc:docMk/>
            <pc:sldMk cId="3975684888" sldId="950"/>
            <ac:picMk id="7" creationId="{69DEB96F-2856-469C-8A92-2DADD615BD7E}"/>
          </ac:picMkLst>
        </pc:picChg>
      </pc:sldChg>
      <pc:sldChg chg="add del ord">
        <pc:chgData name="Umholtz, Jake" userId="68c67aa9-53c4-4aab-a03d-c07f0aadf984" providerId="ADAL" clId="{E8B9A4AC-3859-48A6-9E4D-9C49887B00C8}" dt="2023-02-03T00:35:09.071" v="6641" actId="47"/>
        <pc:sldMkLst>
          <pc:docMk/>
          <pc:sldMk cId="4067206044" sldId="951"/>
        </pc:sldMkLst>
      </pc:sldChg>
      <pc:sldChg chg="addSp delSp modSp add mod modClrScheme chgLayout modNotesTx">
        <pc:chgData name="Umholtz, Jake" userId="68c67aa9-53c4-4aab-a03d-c07f0aadf984" providerId="ADAL" clId="{E8B9A4AC-3859-48A6-9E4D-9C49887B00C8}" dt="2023-02-03T01:09:00.691" v="7693" actId="6549"/>
        <pc:sldMkLst>
          <pc:docMk/>
          <pc:sldMk cId="468943843" sldId="952"/>
        </pc:sldMkLst>
        <pc:spChg chg="mod">
          <ac:chgData name="Umholtz, Jake" userId="68c67aa9-53c4-4aab-a03d-c07f0aadf984" providerId="ADAL" clId="{E8B9A4AC-3859-48A6-9E4D-9C49887B00C8}" dt="2023-02-03T00:21:51.635" v="6549" actId="20577"/>
          <ac:spMkLst>
            <pc:docMk/>
            <pc:sldMk cId="468943843" sldId="952"/>
            <ac:spMk id="2" creationId="{00000000-0000-0000-0000-000000000000}"/>
          </ac:spMkLst>
        </pc:spChg>
        <pc:spChg chg="mod">
          <ac:chgData name="Umholtz, Jake" userId="68c67aa9-53c4-4aab-a03d-c07f0aadf984" providerId="ADAL" clId="{E8B9A4AC-3859-48A6-9E4D-9C49887B00C8}" dt="2023-02-03T00:18:47.080" v="6436" actId="26606"/>
          <ac:spMkLst>
            <pc:docMk/>
            <pc:sldMk cId="468943843" sldId="952"/>
            <ac:spMk id="9" creationId="{00000000-0000-0000-0000-000000000000}"/>
          </ac:spMkLst>
        </pc:spChg>
        <pc:spChg chg="del mod topLvl">
          <ac:chgData name="Umholtz, Jake" userId="68c67aa9-53c4-4aab-a03d-c07f0aadf984" providerId="ADAL" clId="{E8B9A4AC-3859-48A6-9E4D-9C49887B00C8}" dt="2023-02-03T00:17:36.528" v="6429" actId="478"/>
          <ac:spMkLst>
            <pc:docMk/>
            <pc:sldMk cId="468943843" sldId="952"/>
            <ac:spMk id="10" creationId="{1A19C1B1-3CA1-4084-A051-1441DE8AE804}"/>
          </ac:spMkLst>
        </pc:spChg>
        <pc:spChg chg="del mod topLvl">
          <ac:chgData name="Umholtz, Jake" userId="68c67aa9-53c4-4aab-a03d-c07f0aadf984" providerId="ADAL" clId="{E8B9A4AC-3859-48A6-9E4D-9C49887B00C8}" dt="2023-02-03T00:17:33.691" v="6427" actId="478"/>
          <ac:spMkLst>
            <pc:docMk/>
            <pc:sldMk cId="468943843" sldId="952"/>
            <ac:spMk id="11" creationId="{B9BAFD48-974B-4E58-9C7D-B7E6847A981E}"/>
          </ac:spMkLst>
        </pc:spChg>
        <pc:spChg chg="add del mod">
          <ac:chgData name="Umholtz, Jake" userId="68c67aa9-53c4-4aab-a03d-c07f0aadf984" providerId="ADAL" clId="{E8B9A4AC-3859-48A6-9E4D-9C49887B00C8}" dt="2023-01-27T19:53:04.160" v="4297" actId="478"/>
          <ac:spMkLst>
            <pc:docMk/>
            <pc:sldMk cId="468943843" sldId="952"/>
            <ac:spMk id="14" creationId="{B9A2FE25-0AFD-1171-88A9-3416109FCCC8}"/>
          </ac:spMkLst>
        </pc:spChg>
        <pc:spChg chg="mod topLvl">
          <ac:chgData name="Umholtz, Jake" userId="68c67aa9-53c4-4aab-a03d-c07f0aadf984" providerId="ADAL" clId="{E8B9A4AC-3859-48A6-9E4D-9C49887B00C8}" dt="2023-02-03T00:27:26.089" v="6593" actId="20577"/>
          <ac:spMkLst>
            <pc:docMk/>
            <pc:sldMk cId="468943843" sldId="952"/>
            <ac:spMk id="20" creationId="{812030CE-9019-4996-926F-124E1159D79E}"/>
          </ac:spMkLst>
        </pc:spChg>
        <pc:spChg chg="mod topLvl">
          <ac:chgData name="Umholtz, Jake" userId="68c67aa9-53c4-4aab-a03d-c07f0aadf984" providerId="ADAL" clId="{E8B9A4AC-3859-48A6-9E4D-9C49887B00C8}" dt="2023-02-03T00:28:28.173" v="6628" actId="14100"/>
          <ac:spMkLst>
            <pc:docMk/>
            <pc:sldMk cId="468943843" sldId="952"/>
            <ac:spMk id="21" creationId="{E1E69C18-8569-46F1-9634-5434348B518D}"/>
          </ac:spMkLst>
        </pc:spChg>
        <pc:spChg chg="mod topLvl">
          <ac:chgData name="Umholtz, Jake" userId="68c67aa9-53c4-4aab-a03d-c07f0aadf984" providerId="ADAL" clId="{E8B9A4AC-3859-48A6-9E4D-9C49887B00C8}" dt="2023-02-03T00:27:57.859" v="6609" actId="20577"/>
          <ac:spMkLst>
            <pc:docMk/>
            <pc:sldMk cId="468943843" sldId="952"/>
            <ac:spMk id="22" creationId="{1DC1992F-858F-4F5F-8A51-0EA047D6C1EE}"/>
          </ac:spMkLst>
        </pc:spChg>
        <pc:spChg chg="mod topLvl">
          <ac:chgData name="Umholtz, Jake" userId="68c67aa9-53c4-4aab-a03d-c07f0aadf984" providerId="ADAL" clId="{E8B9A4AC-3859-48A6-9E4D-9C49887B00C8}" dt="2023-02-03T00:28:36.836" v="6630" actId="14100"/>
          <ac:spMkLst>
            <pc:docMk/>
            <pc:sldMk cId="468943843" sldId="952"/>
            <ac:spMk id="23" creationId="{47064EF5-44BB-42F5-966A-FBD2B7EA6860}"/>
          </ac:spMkLst>
        </pc:spChg>
        <pc:spChg chg="mod topLvl">
          <ac:chgData name="Umholtz, Jake" userId="68c67aa9-53c4-4aab-a03d-c07f0aadf984" providerId="ADAL" clId="{E8B9A4AC-3859-48A6-9E4D-9C49887B00C8}" dt="2023-02-03T00:27:45.011" v="6599" actId="20577"/>
          <ac:spMkLst>
            <pc:docMk/>
            <pc:sldMk cId="468943843" sldId="952"/>
            <ac:spMk id="24" creationId="{7D9187CD-58EA-48BA-88EC-72D19EB7330C}"/>
          </ac:spMkLst>
        </pc:spChg>
        <pc:spChg chg="mod topLvl">
          <ac:chgData name="Umholtz, Jake" userId="68c67aa9-53c4-4aab-a03d-c07f0aadf984" providerId="ADAL" clId="{E8B9A4AC-3859-48A6-9E4D-9C49887B00C8}" dt="2023-02-03T00:28:33.360" v="6629" actId="14100"/>
          <ac:spMkLst>
            <pc:docMk/>
            <pc:sldMk cId="468943843" sldId="952"/>
            <ac:spMk id="25" creationId="{61897540-A38B-467D-8FE4-209D62C90F0D}"/>
          </ac:spMkLst>
        </pc:spChg>
        <pc:spChg chg="mod topLvl">
          <ac:chgData name="Umholtz, Jake" userId="68c67aa9-53c4-4aab-a03d-c07f0aadf984" providerId="ADAL" clId="{E8B9A4AC-3859-48A6-9E4D-9C49887B00C8}" dt="2023-02-03T00:27:09.511" v="6587" actId="20577"/>
          <ac:spMkLst>
            <pc:docMk/>
            <pc:sldMk cId="468943843" sldId="952"/>
            <ac:spMk id="26" creationId="{E121882A-0A25-446B-B3F2-CEB42D4E4CBF}"/>
          </ac:spMkLst>
        </pc:spChg>
        <pc:spChg chg="mod topLvl">
          <ac:chgData name="Umholtz, Jake" userId="68c67aa9-53c4-4aab-a03d-c07f0aadf984" providerId="ADAL" clId="{E8B9A4AC-3859-48A6-9E4D-9C49887B00C8}" dt="2023-02-03T00:28:23.910" v="6627" actId="14100"/>
          <ac:spMkLst>
            <pc:docMk/>
            <pc:sldMk cId="468943843" sldId="952"/>
            <ac:spMk id="27" creationId="{2E06A224-D98D-42FF-99AC-4CC2957AFEF4}"/>
          </ac:spMkLst>
        </pc:spChg>
        <pc:spChg chg="mod topLvl">
          <ac:chgData name="Umholtz, Jake" userId="68c67aa9-53c4-4aab-a03d-c07f0aadf984" providerId="ADAL" clId="{E8B9A4AC-3859-48A6-9E4D-9C49887B00C8}" dt="2023-02-03T00:28:07.296" v="6611" actId="164"/>
          <ac:spMkLst>
            <pc:docMk/>
            <pc:sldMk cId="468943843" sldId="952"/>
            <ac:spMk id="28" creationId="{35E253BE-4CD2-4C66-9CE9-F809BD53E159}"/>
          </ac:spMkLst>
        </pc:spChg>
        <pc:spChg chg="mod topLvl">
          <ac:chgData name="Umholtz, Jake" userId="68c67aa9-53c4-4aab-a03d-c07f0aadf984" providerId="ADAL" clId="{E8B9A4AC-3859-48A6-9E4D-9C49887B00C8}" dt="2023-02-03T00:28:19.818" v="6626" actId="1038"/>
          <ac:spMkLst>
            <pc:docMk/>
            <pc:sldMk cId="468943843" sldId="952"/>
            <ac:spMk id="29" creationId="{BEDC0D0A-6159-4AC7-BA51-0CE802012CCD}"/>
          </ac:spMkLst>
        </pc:spChg>
        <pc:grpChg chg="add del mod">
          <ac:chgData name="Umholtz, Jake" userId="68c67aa9-53c4-4aab-a03d-c07f0aadf984" providerId="ADAL" clId="{E8B9A4AC-3859-48A6-9E4D-9C49887B00C8}" dt="2023-02-03T00:17:33.691" v="6427" actId="478"/>
          <ac:grpSpMkLst>
            <pc:docMk/>
            <pc:sldMk cId="468943843" sldId="952"/>
            <ac:grpSpMk id="8" creationId="{E8EC635B-6B56-4519-9954-D987A931BA76}"/>
          </ac:grpSpMkLst>
        </pc:grpChg>
        <pc:grpChg chg="add del mod">
          <ac:chgData name="Umholtz, Jake" userId="68c67aa9-53c4-4aab-a03d-c07f0aadf984" providerId="ADAL" clId="{E8B9A4AC-3859-48A6-9E4D-9C49887B00C8}" dt="2023-02-03T00:25:39.442" v="6552" actId="165"/>
          <ac:grpSpMkLst>
            <pc:docMk/>
            <pc:sldMk cId="468943843" sldId="952"/>
            <ac:grpSpMk id="14" creationId="{59A39EF6-5548-4224-83AB-85D4A54C42FA}"/>
          </ac:grpSpMkLst>
        </pc:grpChg>
        <pc:grpChg chg="del mod topLvl">
          <ac:chgData name="Umholtz, Jake" userId="68c67aa9-53c4-4aab-a03d-c07f0aadf984" providerId="ADAL" clId="{E8B9A4AC-3859-48A6-9E4D-9C49887B00C8}" dt="2023-02-03T00:25:54.445" v="6555" actId="165"/>
          <ac:grpSpMkLst>
            <pc:docMk/>
            <pc:sldMk cId="468943843" sldId="952"/>
            <ac:grpSpMk id="15" creationId="{B59EF575-9DE9-474A-80BE-879B13FC3D3D}"/>
          </ac:grpSpMkLst>
        </pc:grpChg>
        <pc:grpChg chg="del mod topLvl">
          <ac:chgData name="Umholtz, Jake" userId="68c67aa9-53c4-4aab-a03d-c07f0aadf984" providerId="ADAL" clId="{E8B9A4AC-3859-48A6-9E4D-9C49887B00C8}" dt="2023-02-03T00:26:46.483" v="6578" actId="165"/>
          <ac:grpSpMkLst>
            <pc:docMk/>
            <pc:sldMk cId="468943843" sldId="952"/>
            <ac:grpSpMk id="16" creationId="{66336AD6-67C5-4CBB-B89A-E2B3AAF5BFF2}"/>
          </ac:grpSpMkLst>
        </pc:grpChg>
        <pc:grpChg chg="del mod topLvl">
          <ac:chgData name="Umholtz, Jake" userId="68c67aa9-53c4-4aab-a03d-c07f0aadf984" providerId="ADAL" clId="{E8B9A4AC-3859-48A6-9E4D-9C49887B00C8}" dt="2023-02-03T00:27:31.937" v="6594" actId="165"/>
          <ac:grpSpMkLst>
            <pc:docMk/>
            <pc:sldMk cId="468943843" sldId="952"/>
            <ac:grpSpMk id="17" creationId="{2C607E43-C802-46D8-9407-FAA45E2869F2}"/>
          </ac:grpSpMkLst>
        </pc:grpChg>
        <pc:grpChg chg="del mod topLvl">
          <ac:chgData name="Umholtz, Jake" userId="68c67aa9-53c4-4aab-a03d-c07f0aadf984" providerId="ADAL" clId="{E8B9A4AC-3859-48A6-9E4D-9C49887B00C8}" dt="2023-02-03T00:27:49.821" v="6600" actId="165"/>
          <ac:grpSpMkLst>
            <pc:docMk/>
            <pc:sldMk cId="468943843" sldId="952"/>
            <ac:grpSpMk id="18" creationId="{DC42C240-62A0-4117-AB7E-55CF1D591232}"/>
          </ac:grpSpMkLst>
        </pc:grpChg>
        <pc:grpChg chg="del mod topLvl">
          <ac:chgData name="Umholtz, Jake" userId="68c67aa9-53c4-4aab-a03d-c07f0aadf984" providerId="ADAL" clId="{E8B9A4AC-3859-48A6-9E4D-9C49887B00C8}" dt="2023-02-03T00:27:15.470" v="6588" actId="165"/>
          <ac:grpSpMkLst>
            <pc:docMk/>
            <pc:sldMk cId="468943843" sldId="952"/>
            <ac:grpSpMk id="19" creationId="{3A08DDAB-D777-4316-902F-26B16B8B4DB2}"/>
          </ac:grpSpMkLst>
        </pc:grpChg>
        <pc:grpChg chg="add mod">
          <ac:chgData name="Umholtz, Jake" userId="68c67aa9-53c4-4aab-a03d-c07f0aadf984" providerId="ADAL" clId="{E8B9A4AC-3859-48A6-9E4D-9C49887B00C8}" dt="2023-02-03T00:28:07.296" v="6611" actId="164"/>
          <ac:grpSpMkLst>
            <pc:docMk/>
            <pc:sldMk cId="468943843" sldId="952"/>
            <ac:grpSpMk id="30" creationId="{C24AF44B-E953-4877-944B-F26FDAC07A54}"/>
          </ac:grpSpMkLst>
        </pc:grpChg>
        <pc:picChg chg="add del mod ord">
          <ac:chgData name="Umholtz, Jake" userId="68c67aa9-53c4-4aab-a03d-c07f0aadf984" providerId="ADAL" clId="{E8B9A4AC-3859-48A6-9E4D-9C49887B00C8}" dt="2023-02-03T00:17:23.944" v="6423" actId="478"/>
          <ac:picMkLst>
            <pc:docMk/>
            <pc:sldMk cId="468943843" sldId="952"/>
            <ac:picMk id="4" creationId="{A58F0C7F-76AB-4C5B-9233-3D2F1C931763}"/>
          </ac:picMkLst>
        </pc:picChg>
        <pc:picChg chg="del">
          <ac:chgData name="Umholtz, Jake" userId="68c67aa9-53c4-4aab-a03d-c07f0aadf984" providerId="ADAL" clId="{E8B9A4AC-3859-48A6-9E4D-9C49887B00C8}" dt="2023-01-27T19:51:34.383" v="4288" actId="478"/>
          <ac:picMkLst>
            <pc:docMk/>
            <pc:sldMk cId="468943843" sldId="952"/>
            <ac:picMk id="5" creationId="{DC71ECCD-F74A-4263-AE0E-05BEE0F58078}"/>
          </ac:picMkLst>
        </pc:picChg>
        <pc:picChg chg="add mod ord">
          <ac:chgData name="Umholtz, Jake" userId="68c67aa9-53c4-4aab-a03d-c07f0aadf984" providerId="ADAL" clId="{E8B9A4AC-3859-48A6-9E4D-9C49887B00C8}" dt="2023-02-03T00:19:13.851" v="6443" actId="14100"/>
          <ac:picMkLst>
            <pc:docMk/>
            <pc:sldMk cId="468943843" sldId="952"/>
            <ac:picMk id="5" creationId="{DE018523-151C-4561-88A6-89F98740F38F}"/>
          </ac:picMkLst>
        </pc:picChg>
        <pc:picChg chg="add del mod">
          <ac:chgData name="Umholtz, Jake" userId="68c67aa9-53c4-4aab-a03d-c07f0aadf984" providerId="ADAL" clId="{E8B9A4AC-3859-48A6-9E4D-9C49887B00C8}" dt="2023-02-03T00:18:04.577" v="6433" actId="478"/>
          <ac:picMkLst>
            <pc:docMk/>
            <pc:sldMk cId="468943843" sldId="952"/>
            <ac:picMk id="7" creationId="{AFE110A4-AA89-40C7-BE37-426D3A80D8CF}"/>
          </ac:picMkLst>
        </pc:picChg>
        <pc:picChg chg="add mod ord">
          <ac:chgData name="Umholtz, Jake" userId="68c67aa9-53c4-4aab-a03d-c07f0aadf984" providerId="ADAL" clId="{E8B9A4AC-3859-48A6-9E4D-9C49887B00C8}" dt="2023-02-03T00:18:59.190" v="6440" actId="1076"/>
          <ac:picMkLst>
            <pc:docMk/>
            <pc:sldMk cId="468943843" sldId="952"/>
            <ac:picMk id="13" creationId="{CE08153A-4502-4646-B376-03F53B0DD1D3}"/>
          </ac:picMkLst>
        </pc:picChg>
      </pc:sldChg>
      <pc:sldChg chg="delSp modSp add del">
        <pc:chgData name="Umholtz, Jake" userId="68c67aa9-53c4-4aab-a03d-c07f0aadf984" providerId="ADAL" clId="{E8B9A4AC-3859-48A6-9E4D-9C49887B00C8}" dt="2023-02-03T00:34:53.048" v="6632" actId="47"/>
        <pc:sldMkLst>
          <pc:docMk/>
          <pc:sldMk cId="3110504218" sldId="953"/>
        </pc:sldMkLst>
        <pc:spChg chg="mod topLvl">
          <ac:chgData name="Umholtz, Jake" userId="68c67aa9-53c4-4aab-a03d-c07f0aadf984" providerId="ADAL" clId="{E8B9A4AC-3859-48A6-9E4D-9C49887B00C8}" dt="2023-01-27T19:56:02.199" v="4358" actId="165"/>
          <ac:spMkLst>
            <pc:docMk/>
            <pc:sldMk cId="3110504218" sldId="953"/>
            <ac:spMk id="15" creationId="{78BABBB4-8412-4A62-A26D-A6980AC9BDB5}"/>
          </ac:spMkLst>
        </pc:spChg>
        <pc:spChg chg="mod topLvl">
          <ac:chgData name="Umholtz, Jake" userId="68c67aa9-53c4-4aab-a03d-c07f0aadf984" providerId="ADAL" clId="{E8B9A4AC-3859-48A6-9E4D-9C49887B00C8}" dt="2023-01-27T19:56:02.199" v="4358" actId="165"/>
          <ac:spMkLst>
            <pc:docMk/>
            <pc:sldMk cId="3110504218" sldId="953"/>
            <ac:spMk id="16" creationId="{AC396C2B-B068-4862-A916-A38C4D881F66}"/>
          </ac:spMkLst>
        </pc:spChg>
        <pc:spChg chg="mod topLvl">
          <ac:chgData name="Umholtz, Jake" userId="68c67aa9-53c4-4aab-a03d-c07f0aadf984" providerId="ADAL" clId="{E8B9A4AC-3859-48A6-9E4D-9C49887B00C8}" dt="2023-01-27T19:56:02.199" v="4358" actId="165"/>
          <ac:spMkLst>
            <pc:docMk/>
            <pc:sldMk cId="3110504218" sldId="953"/>
            <ac:spMk id="17" creationId="{EF388657-CA66-4DAD-AB0B-36363D1F33B6}"/>
          </ac:spMkLst>
        </pc:spChg>
        <pc:grpChg chg="del">
          <ac:chgData name="Umholtz, Jake" userId="68c67aa9-53c4-4aab-a03d-c07f0aadf984" providerId="ADAL" clId="{E8B9A4AC-3859-48A6-9E4D-9C49887B00C8}" dt="2023-01-27T19:56:02.199" v="4358" actId="165"/>
          <ac:grpSpMkLst>
            <pc:docMk/>
            <pc:sldMk cId="3110504218" sldId="953"/>
            <ac:grpSpMk id="2" creationId="{E0D5A519-C914-449E-B11B-76DCC4D1F48D}"/>
          </ac:grpSpMkLst>
        </pc:grpChg>
      </pc:sldChg>
      <pc:sldChg chg="add del">
        <pc:chgData name="Umholtz, Jake" userId="68c67aa9-53c4-4aab-a03d-c07f0aadf984" providerId="ADAL" clId="{E8B9A4AC-3859-48A6-9E4D-9C49887B00C8}" dt="2023-02-03T00:35:03.952" v="6638" actId="47"/>
        <pc:sldMkLst>
          <pc:docMk/>
          <pc:sldMk cId="3947826330" sldId="954"/>
        </pc:sldMkLst>
      </pc:sldChg>
      <pc:sldChg chg="addSp delSp modSp new mod modTransition modClrScheme chgLayout">
        <pc:chgData name="Umholtz, Jake" userId="68c67aa9-53c4-4aab-a03d-c07f0aadf984" providerId="ADAL" clId="{E8B9A4AC-3859-48A6-9E4D-9C49887B00C8}" dt="2023-01-27T20:08:19.696" v="5184" actId="207"/>
        <pc:sldMkLst>
          <pc:docMk/>
          <pc:sldMk cId="939461024" sldId="955"/>
        </pc:sldMkLst>
        <pc:spChg chg="del">
          <ac:chgData name="Umholtz, Jake" userId="68c67aa9-53c4-4aab-a03d-c07f0aadf984" providerId="ADAL" clId="{E8B9A4AC-3859-48A6-9E4D-9C49887B00C8}" dt="2023-01-27T20:08:05.386" v="5181" actId="26606"/>
          <ac:spMkLst>
            <pc:docMk/>
            <pc:sldMk cId="939461024" sldId="955"/>
            <ac:spMk id="2" creationId="{810F51BC-2070-46A0-842A-041ECC9A2A95}"/>
          </ac:spMkLst>
        </pc:spChg>
        <pc:spChg chg="del">
          <ac:chgData name="Umholtz, Jake" userId="68c67aa9-53c4-4aab-a03d-c07f0aadf984" providerId="ADAL" clId="{E8B9A4AC-3859-48A6-9E4D-9C49887B00C8}" dt="2023-01-27T20:07:53.735" v="5177"/>
          <ac:spMkLst>
            <pc:docMk/>
            <pc:sldMk cId="939461024" sldId="955"/>
            <ac:spMk id="3" creationId="{A654A6B0-25A6-48EC-9DD1-BA0F5C18A6A1}"/>
          </ac:spMkLst>
        </pc:spChg>
        <pc:spChg chg="del">
          <ac:chgData name="Umholtz, Jake" userId="68c67aa9-53c4-4aab-a03d-c07f0aadf984" providerId="ADAL" clId="{E8B9A4AC-3859-48A6-9E4D-9C49887B00C8}" dt="2023-01-27T20:08:05.386" v="5181" actId="26606"/>
          <ac:spMkLst>
            <pc:docMk/>
            <pc:sldMk cId="939461024" sldId="955"/>
            <ac:spMk id="4" creationId="{66A002C5-D0DF-4AB7-B452-D85216C5838B}"/>
          </ac:spMkLst>
        </pc:spChg>
        <pc:spChg chg="add mod ord">
          <ac:chgData name="Umholtz, Jake" userId="68c67aa9-53c4-4aab-a03d-c07f0aadf984" providerId="ADAL" clId="{E8B9A4AC-3859-48A6-9E4D-9C49887B00C8}" dt="2023-01-27T20:08:19.696" v="5184" actId="207"/>
          <ac:spMkLst>
            <pc:docMk/>
            <pc:sldMk cId="939461024" sldId="955"/>
            <ac:spMk id="5" creationId="{F7207756-2C7A-4543-9904-209901975513}"/>
          </ac:spMkLst>
        </pc:spChg>
        <pc:spChg chg="add del mod">
          <ac:chgData name="Umholtz, Jake" userId="68c67aa9-53c4-4aab-a03d-c07f0aadf984" providerId="ADAL" clId="{E8B9A4AC-3859-48A6-9E4D-9C49887B00C8}" dt="2023-01-27T20:07:14.921" v="5159" actId="478"/>
          <ac:spMkLst>
            <pc:docMk/>
            <pc:sldMk cId="939461024" sldId="955"/>
            <ac:spMk id="6" creationId="{4CDE21B6-5496-42FE-B8F0-BE50FB5994B4}"/>
          </ac:spMkLst>
        </pc:spChg>
        <pc:spChg chg="add mod">
          <ac:chgData name="Umholtz, Jake" userId="68c67aa9-53c4-4aab-a03d-c07f0aadf984" providerId="ADAL" clId="{E8B9A4AC-3859-48A6-9E4D-9C49887B00C8}" dt="2023-01-27T20:08:05.386" v="5181" actId="26606"/>
          <ac:spMkLst>
            <pc:docMk/>
            <pc:sldMk cId="939461024" sldId="955"/>
            <ac:spMk id="7" creationId="{B95801D6-0C1B-4042-8D59-0909C0501312}"/>
          </ac:spMkLst>
        </pc:spChg>
        <pc:picChg chg="add mod">
          <ac:chgData name="Umholtz, Jake" userId="68c67aa9-53c4-4aab-a03d-c07f0aadf984" providerId="ADAL" clId="{E8B9A4AC-3859-48A6-9E4D-9C49887B00C8}" dt="2023-01-27T20:08:10.060" v="5183" actId="1076"/>
          <ac:picMkLst>
            <pc:docMk/>
            <pc:sldMk cId="939461024" sldId="955"/>
            <ac:picMk id="9" creationId="{20F260A1-5056-4DCA-B1D0-D21514BDE274}"/>
          </ac:picMkLst>
        </pc:picChg>
      </pc:sldChg>
      <pc:sldChg chg="new del">
        <pc:chgData name="Umholtz, Jake" userId="68c67aa9-53c4-4aab-a03d-c07f0aadf984" providerId="ADAL" clId="{E8B9A4AC-3859-48A6-9E4D-9C49887B00C8}" dt="2023-01-27T20:06:17.560" v="5110" actId="47"/>
        <pc:sldMkLst>
          <pc:docMk/>
          <pc:sldMk cId="3232863882" sldId="955"/>
        </pc:sldMkLst>
      </pc:sldChg>
      <pc:sldChg chg="new del">
        <pc:chgData name="Umholtz, Jake" userId="68c67aa9-53c4-4aab-a03d-c07f0aadf984" providerId="ADAL" clId="{E8B9A4AC-3859-48A6-9E4D-9C49887B00C8}" dt="2023-02-03T00:36:07.329" v="6643" actId="47"/>
        <pc:sldMkLst>
          <pc:docMk/>
          <pc:sldMk cId="1706887263" sldId="956"/>
        </pc:sldMkLst>
      </pc:sldChg>
      <pc:sldChg chg="addSp delSp modSp add del mod ord">
        <pc:chgData name="Umholtz, Jake" userId="68c67aa9-53c4-4aab-a03d-c07f0aadf984" providerId="ADAL" clId="{E8B9A4AC-3859-48A6-9E4D-9C49887B00C8}" dt="2023-02-03T00:53:54.454" v="7389" actId="47"/>
        <pc:sldMkLst>
          <pc:docMk/>
          <pc:sldMk cId="3693360192" sldId="956"/>
        </pc:sldMkLst>
        <pc:spChg chg="topLvl">
          <ac:chgData name="Umholtz, Jake" userId="68c67aa9-53c4-4aab-a03d-c07f0aadf984" providerId="ADAL" clId="{E8B9A4AC-3859-48A6-9E4D-9C49887B00C8}" dt="2023-02-03T00:38:17.699" v="6658" actId="478"/>
          <ac:spMkLst>
            <pc:docMk/>
            <pc:sldMk cId="3693360192" sldId="956"/>
            <ac:spMk id="86" creationId="{F83566E7-3DB4-4941-AB74-EBFC5652FED3}"/>
          </ac:spMkLst>
        </pc:spChg>
        <pc:spChg chg="mod">
          <ac:chgData name="Umholtz, Jake" userId="68c67aa9-53c4-4aab-a03d-c07f0aadf984" providerId="ADAL" clId="{E8B9A4AC-3859-48A6-9E4D-9C49887B00C8}" dt="2023-02-03T00:36:37.704" v="6656" actId="20577"/>
          <ac:spMkLst>
            <pc:docMk/>
            <pc:sldMk cId="3693360192" sldId="956"/>
            <ac:spMk id="371719" creationId="{00000000-0000-0000-0000-000000000000}"/>
          </ac:spMkLst>
        </pc:spChg>
        <pc:grpChg chg="del">
          <ac:chgData name="Umholtz, Jake" userId="68c67aa9-53c4-4aab-a03d-c07f0aadf984" providerId="ADAL" clId="{E8B9A4AC-3859-48A6-9E4D-9C49887B00C8}" dt="2023-02-03T00:38:17.699" v="6658" actId="478"/>
          <ac:grpSpMkLst>
            <pc:docMk/>
            <pc:sldMk cId="3693360192" sldId="956"/>
            <ac:grpSpMk id="5" creationId="{CE7C336E-7564-4494-8C37-A28E32D8EC7C}"/>
          </ac:grpSpMkLst>
        </pc:grpChg>
        <pc:picChg chg="add mod">
          <ac:chgData name="Umholtz, Jake" userId="68c67aa9-53c4-4aab-a03d-c07f0aadf984" providerId="ADAL" clId="{E8B9A4AC-3859-48A6-9E4D-9C49887B00C8}" dt="2023-02-03T00:38:37.163" v="6664" actId="14100"/>
          <ac:picMkLst>
            <pc:docMk/>
            <pc:sldMk cId="3693360192" sldId="956"/>
            <ac:picMk id="26" creationId="{81AE017E-F737-4BF0-A153-E2B975DFD02D}"/>
          </ac:picMkLst>
        </pc:picChg>
        <pc:picChg chg="del topLvl">
          <ac:chgData name="Umholtz, Jake" userId="68c67aa9-53c4-4aab-a03d-c07f0aadf984" providerId="ADAL" clId="{E8B9A4AC-3859-48A6-9E4D-9C49887B00C8}" dt="2023-02-03T00:38:17.699" v="6658" actId="478"/>
          <ac:picMkLst>
            <pc:docMk/>
            <pc:sldMk cId="3693360192" sldId="956"/>
            <ac:picMk id="85" creationId="{89FE39B2-8E04-4E65-84FD-486DD03CEB4F}"/>
          </ac:picMkLst>
        </pc:picChg>
      </pc:sldChg>
      <pc:sldMasterChg chg="delSldLayout">
        <pc:chgData name="Umholtz, Jake" userId="68c67aa9-53c4-4aab-a03d-c07f0aadf984" providerId="ADAL" clId="{E8B9A4AC-3859-48A6-9E4D-9C49887B00C8}" dt="2023-02-03T00:35:09.071" v="6641" actId="47"/>
        <pc:sldMasterMkLst>
          <pc:docMk/>
          <pc:sldMasterMk cId="638467292" sldId="2147483993"/>
        </pc:sldMasterMkLst>
        <pc:sldLayoutChg chg="del">
          <pc:chgData name="Umholtz, Jake" userId="68c67aa9-53c4-4aab-a03d-c07f0aadf984" providerId="ADAL" clId="{E8B9A4AC-3859-48A6-9E4D-9C49887B00C8}" dt="2023-02-03T00:35:09.071" v="6641" actId="47"/>
          <pc:sldLayoutMkLst>
            <pc:docMk/>
            <pc:sldMasterMk cId="638467292" sldId="2147483993"/>
            <pc:sldLayoutMk cId="2750263056" sldId="2147484040"/>
          </pc:sldLayoutMkLst>
        </pc:sldLayoutChg>
        <pc:sldLayoutChg chg="del">
          <pc:chgData name="Umholtz, Jake" userId="68c67aa9-53c4-4aab-a03d-c07f0aadf984" providerId="ADAL" clId="{E8B9A4AC-3859-48A6-9E4D-9C49887B00C8}" dt="2023-02-03T00:35:03.952" v="6638" actId="47"/>
          <pc:sldLayoutMkLst>
            <pc:docMk/>
            <pc:sldMasterMk cId="638467292" sldId="2147483993"/>
            <pc:sldLayoutMk cId="1530821960" sldId="2147484042"/>
          </pc:sldLayoutMkLst>
        </pc:sldLayoutChg>
        <pc:sldLayoutChg chg="del">
          <pc:chgData name="Umholtz, Jake" userId="68c67aa9-53c4-4aab-a03d-c07f0aadf984" providerId="ADAL" clId="{E8B9A4AC-3859-48A6-9E4D-9C49887B00C8}" dt="2023-02-02T23:13:06.966" v="5185" actId="47"/>
          <pc:sldLayoutMkLst>
            <pc:docMk/>
            <pc:sldMasterMk cId="638467292" sldId="2147483993"/>
            <pc:sldLayoutMk cId="1049809578" sldId="2147484044"/>
          </pc:sldLayoutMkLst>
        </pc:sldLayoutChg>
        <pc:sldLayoutChg chg="del">
          <pc:chgData name="Umholtz, Jake" userId="68c67aa9-53c4-4aab-a03d-c07f0aadf984" providerId="ADAL" clId="{E8B9A4AC-3859-48A6-9E4D-9C49887B00C8}" dt="2023-01-27T16:12:46.559" v="79" actId="47"/>
          <pc:sldLayoutMkLst>
            <pc:docMk/>
            <pc:sldMasterMk cId="638467292" sldId="2147483993"/>
            <pc:sldLayoutMk cId="1656018573" sldId="2147484044"/>
          </pc:sldLayoutMkLst>
        </pc:sldLayoutChg>
        <pc:sldLayoutChg chg="del">
          <pc:chgData name="Umholtz, Jake" userId="68c67aa9-53c4-4aab-a03d-c07f0aadf984" providerId="ADAL" clId="{E8B9A4AC-3859-48A6-9E4D-9C49887B00C8}" dt="2023-01-27T16:13:11.596" v="84" actId="47"/>
          <pc:sldLayoutMkLst>
            <pc:docMk/>
            <pc:sldMasterMk cId="638467292" sldId="2147483993"/>
            <pc:sldLayoutMk cId="3674641562" sldId="2147484044"/>
          </pc:sldLayoutMkLst>
        </pc:sldLayoutChg>
      </pc:sldMasterChg>
    </pc:docChg>
  </pc:docChgLst>
  <pc:docChgLst>
    <pc:chgData name="Robles, Daniel" userId="S::darobles@deloitte.com::fbcefa1a-afe9-41c1-8f2c-c18cf39f3320" providerId="AD" clId="Web-{949C703E-9DF1-46D7-874C-3C84E9AE89D2}"/>
    <pc:docChg chg="modSld">
      <pc:chgData name="Robles, Daniel" userId="S::darobles@deloitte.com::fbcefa1a-afe9-41c1-8f2c-c18cf39f3320" providerId="AD" clId="Web-{949C703E-9DF1-46D7-874C-3C84E9AE89D2}" dt="2022-08-18T15:41:09.658" v="118" actId="1076"/>
      <pc:docMkLst>
        <pc:docMk/>
      </pc:docMkLst>
      <pc:sldChg chg="addSp delSp modSp">
        <pc:chgData name="Robles, Daniel" userId="S::darobles@deloitte.com::fbcefa1a-afe9-41c1-8f2c-c18cf39f3320" providerId="AD" clId="Web-{949C703E-9DF1-46D7-874C-3C84E9AE89D2}" dt="2022-08-18T15:41:09.658" v="118" actId="1076"/>
        <pc:sldMkLst>
          <pc:docMk/>
          <pc:sldMk cId="1073662527" sldId="461"/>
        </pc:sldMkLst>
        <pc:spChg chg="mod">
          <ac:chgData name="Robles, Daniel" userId="S::darobles@deloitte.com::fbcefa1a-afe9-41c1-8f2c-c18cf39f3320" providerId="AD" clId="Web-{949C703E-9DF1-46D7-874C-3C84E9AE89D2}" dt="2022-08-18T15:40:27.812" v="114" actId="20577"/>
          <ac:spMkLst>
            <pc:docMk/>
            <pc:sldMk cId="1073662527" sldId="461"/>
            <ac:spMk id="25" creationId="{CED28989-BF99-8D9C-37B1-75454F2517CD}"/>
          </ac:spMkLst>
        </pc:spChg>
        <pc:spChg chg="mod">
          <ac:chgData name="Robles, Daniel" userId="S::darobles@deloitte.com::fbcefa1a-afe9-41c1-8f2c-c18cf39f3320" providerId="AD" clId="Web-{949C703E-9DF1-46D7-874C-3C84E9AE89D2}" dt="2022-08-18T15:40:15.218" v="112" actId="14100"/>
          <ac:spMkLst>
            <pc:docMk/>
            <pc:sldMk cId="1073662527" sldId="461"/>
            <ac:spMk id="27" creationId="{5AAE6B28-B99D-0699-78BF-326160205E40}"/>
          </ac:spMkLst>
        </pc:spChg>
        <pc:picChg chg="add mod ord">
          <ac:chgData name="Robles, Daniel" userId="S::darobles@deloitte.com::fbcefa1a-afe9-41c1-8f2c-c18cf39f3320" providerId="AD" clId="Web-{949C703E-9DF1-46D7-874C-3C84E9AE89D2}" dt="2022-08-18T15:41:09.658" v="118" actId="1076"/>
          <ac:picMkLst>
            <pc:docMk/>
            <pc:sldMk cId="1073662527" sldId="461"/>
            <ac:picMk id="2" creationId="{EC5AE12D-4D16-8699-2525-E28B1762D634}"/>
          </ac:picMkLst>
        </pc:picChg>
        <pc:picChg chg="del mod">
          <ac:chgData name="Robles, Daniel" userId="S::darobles@deloitte.com::fbcefa1a-afe9-41c1-8f2c-c18cf39f3320" providerId="AD" clId="Web-{949C703E-9DF1-46D7-874C-3C84E9AE89D2}" dt="2022-08-18T15:36:11.116" v="1"/>
          <ac:picMkLst>
            <pc:docMk/>
            <pc:sldMk cId="1073662527" sldId="461"/>
            <ac:picMk id="6" creationId="{BCB0572B-B46A-F73B-383D-EB74EC54F4A2}"/>
          </ac:picMkLst>
        </pc:picChg>
      </pc:sldChg>
    </pc:docChg>
  </pc:docChgLst>
  <pc:docChgLst>
    <pc:chgData name="Robles, Daniel" userId="fbcefa1a-afe9-41c1-8f2c-c18cf39f3320" providerId="ADAL" clId="{CFAEFA92-8A4B-4120-BCA2-1909F2FDD0EC}"/>
    <pc:docChg chg="undo custSel addSld delSld modSld">
      <pc:chgData name="Robles, Daniel" userId="fbcefa1a-afe9-41c1-8f2c-c18cf39f3320" providerId="ADAL" clId="{CFAEFA92-8A4B-4120-BCA2-1909F2FDD0EC}" dt="2022-08-19T14:52:55.246" v="423" actId="1076"/>
      <pc:docMkLst>
        <pc:docMk/>
      </pc:docMkLst>
      <pc:sldChg chg="addSp delSp mod">
        <pc:chgData name="Robles, Daniel" userId="fbcefa1a-afe9-41c1-8f2c-c18cf39f3320" providerId="ADAL" clId="{CFAEFA92-8A4B-4120-BCA2-1909F2FDD0EC}" dt="2022-08-19T14:14:55.940" v="97" actId="478"/>
        <pc:sldMkLst>
          <pc:docMk/>
          <pc:sldMk cId="1714877050" sldId="367"/>
        </pc:sldMkLst>
        <pc:grpChg chg="add del">
          <ac:chgData name="Robles, Daniel" userId="fbcefa1a-afe9-41c1-8f2c-c18cf39f3320" providerId="ADAL" clId="{CFAEFA92-8A4B-4120-BCA2-1909F2FDD0EC}" dt="2022-08-19T14:14:55.940" v="97" actId="478"/>
          <ac:grpSpMkLst>
            <pc:docMk/>
            <pc:sldMk cId="1714877050" sldId="367"/>
            <ac:grpSpMk id="17" creationId="{1A0B15E1-3F90-45D0-B7D0-20B413BE32F3}"/>
          </ac:grpSpMkLst>
        </pc:grpChg>
      </pc:sldChg>
      <pc:sldChg chg="modSp mod">
        <pc:chgData name="Robles, Daniel" userId="fbcefa1a-afe9-41c1-8f2c-c18cf39f3320" providerId="ADAL" clId="{CFAEFA92-8A4B-4120-BCA2-1909F2FDD0EC}" dt="2022-08-18T16:34:30.896" v="3" actId="14100"/>
        <pc:sldMkLst>
          <pc:docMk/>
          <pc:sldMk cId="1485223179" sldId="436"/>
        </pc:sldMkLst>
        <pc:spChg chg="mod">
          <ac:chgData name="Robles, Daniel" userId="fbcefa1a-afe9-41c1-8f2c-c18cf39f3320" providerId="ADAL" clId="{CFAEFA92-8A4B-4120-BCA2-1909F2FDD0EC}" dt="2022-08-18T16:34:30.896" v="3" actId="14100"/>
          <ac:spMkLst>
            <pc:docMk/>
            <pc:sldMk cId="1485223179" sldId="436"/>
            <ac:spMk id="2" creationId="{1A53A8AD-38C0-4854-81B3-9B99B4E007ED}"/>
          </ac:spMkLst>
        </pc:spChg>
      </pc:sldChg>
      <pc:sldChg chg="addSp delSp modSp mod">
        <pc:chgData name="Robles, Daniel" userId="fbcefa1a-afe9-41c1-8f2c-c18cf39f3320" providerId="ADAL" clId="{CFAEFA92-8A4B-4120-BCA2-1909F2FDD0EC}" dt="2022-08-19T14:11:31.883" v="94"/>
        <pc:sldMkLst>
          <pc:docMk/>
          <pc:sldMk cId="870859583" sldId="453"/>
        </pc:sldMkLst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15" creationId="{A96230B5-8F98-4BBB-986E-F5C656FE7422}"/>
          </ac:spMkLst>
        </pc:spChg>
        <pc:spChg chg="del">
          <ac:chgData name="Robles, Daniel" userId="fbcefa1a-afe9-41c1-8f2c-c18cf39f3320" providerId="ADAL" clId="{CFAEFA92-8A4B-4120-BCA2-1909F2FDD0EC}" dt="2022-08-19T14:11:30.404" v="93" actId="478"/>
          <ac:spMkLst>
            <pc:docMk/>
            <pc:sldMk cId="870859583" sldId="453"/>
            <ac:spMk id="16" creationId="{05EC2B1B-03B5-4113-AC99-AB36C19FD5BB}"/>
          </ac:spMkLst>
        </pc:spChg>
        <pc:spChg chg="del">
          <ac:chgData name="Robles, Daniel" userId="fbcefa1a-afe9-41c1-8f2c-c18cf39f3320" providerId="ADAL" clId="{CFAEFA92-8A4B-4120-BCA2-1909F2FDD0EC}" dt="2022-08-19T14:11:28.849" v="92" actId="478"/>
          <ac:spMkLst>
            <pc:docMk/>
            <pc:sldMk cId="870859583" sldId="453"/>
            <ac:spMk id="17" creationId="{C2764721-27FB-4523-84C1-1EB350614384}"/>
          </ac:spMkLst>
        </pc:spChg>
        <pc:spChg chg="del mod">
          <ac:chgData name="Robles, Daniel" userId="fbcefa1a-afe9-41c1-8f2c-c18cf39f3320" providerId="ADAL" clId="{CFAEFA92-8A4B-4120-BCA2-1909F2FDD0EC}" dt="2022-08-19T14:11:27.155" v="90" actId="478"/>
          <ac:spMkLst>
            <pc:docMk/>
            <pc:sldMk cId="870859583" sldId="453"/>
            <ac:spMk id="18" creationId="{D3F8529D-82F4-4F37-8133-A16B18856036}"/>
          </ac:spMkLst>
        </pc:spChg>
        <pc:spChg chg="del">
          <ac:chgData name="Robles, Daniel" userId="fbcefa1a-afe9-41c1-8f2c-c18cf39f3320" providerId="ADAL" clId="{CFAEFA92-8A4B-4120-BCA2-1909F2FDD0EC}" dt="2022-08-19T14:11:27.947" v="91" actId="478"/>
          <ac:spMkLst>
            <pc:docMk/>
            <pc:sldMk cId="870859583" sldId="453"/>
            <ac:spMk id="19" creationId="{2643D6B3-3793-4EFE-B28F-CF37BA58EFF1}"/>
          </ac:spMkLst>
        </pc:spChg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0" creationId="{CE5086D5-9544-452B-AB73-2799DA62DF5E}"/>
          </ac:spMkLst>
        </pc:spChg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1" creationId="{26C8DF3C-277F-4134-8628-D4018AEDD03D}"/>
          </ac:spMkLst>
        </pc:spChg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2" creationId="{521261C7-C371-4BC9-89E1-D53AB8BDE5DE}"/>
          </ac:spMkLst>
        </pc:spChg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3" creationId="{20973736-A4E2-4BF1-8B1D-B16EC3090698}"/>
          </ac:spMkLst>
        </pc:spChg>
        <pc:spChg chg="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4" creationId="{6E6001F4-4696-4CF2-9936-FCAD3E806B65}"/>
          </ac:spMkLst>
        </pc:spChg>
        <pc:spChg chg="add 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5" creationId="{CB55AF20-5A34-4F35-8C93-B0F750B0E518}"/>
          </ac:spMkLst>
        </pc:spChg>
        <pc:spChg chg="add 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6" creationId="{53589AE7-2F98-40F5-B916-81FB2F5B5A10}"/>
          </ac:spMkLst>
        </pc:spChg>
        <pc:spChg chg="add mod">
          <ac:chgData name="Robles, Daniel" userId="fbcefa1a-afe9-41c1-8f2c-c18cf39f3320" providerId="ADAL" clId="{CFAEFA92-8A4B-4120-BCA2-1909F2FDD0EC}" dt="2022-08-19T14:11:31.883" v="94"/>
          <ac:spMkLst>
            <pc:docMk/>
            <pc:sldMk cId="870859583" sldId="453"/>
            <ac:spMk id="27" creationId="{24968C5F-8CB0-4A0C-A449-C29438E73583}"/>
          </ac:spMkLst>
        </pc:spChg>
        <pc:grpChg chg="add mod">
          <ac:chgData name="Robles, Daniel" userId="fbcefa1a-afe9-41c1-8f2c-c18cf39f3320" providerId="ADAL" clId="{CFAEFA92-8A4B-4120-BCA2-1909F2FDD0EC}" dt="2022-08-19T14:11:31.883" v="94"/>
          <ac:grpSpMkLst>
            <pc:docMk/>
            <pc:sldMk cId="870859583" sldId="453"/>
            <ac:grpSpMk id="14" creationId="{1B32BECE-9767-40A5-9A63-1D514BC8EC6A}"/>
          </ac:grpSpMkLst>
        </pc:grpChg>
      </pc:sldChg>
      <pc:sldChg chg="del">
        <pc:chgData name="Robles, Daniel" userId="fbcefa1a-afe9-41c1-8f2c-c18cf39f3320" providerId="ADAL" clId="{CFAEFA92-8A4B-4120-BCA2-1909F2FDD0EC}" dt="2022-08-18T18:39:58.160" v="6" actId="47"/>
        <pc:sldMkLst>
          <pc:docMk/>
          <pc:sldMk cId="1223724206" sldId="458"/>
        </pc:sldMkLst>
      </pc:sldChg>
      <pc:sldChg chg="addSp modSp mod">
        <pc:chgData name="Robles, Daniel" userId="fbcefa1a-afe9-41c1-8f2c-c18cf39f3320" providerId="ADAL" clId="{CFAEFA92-8A4B-4120-BCA2-1909F2FDD0EC}" dt="2022-08-19T14:11:20.052" v="88" actId="1076"/>
        <pc:sldMkLst>
          <pc:docMk/>
          <pc:sldMk cId="1073662527" sldId="461"/>
        </pc:sldMkLst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6" creationId="{2A96FB10-25C5-4C18-8453-1786D3364992}"/>
          </ac:spMkLst>
        </pc:spChg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7" creationId="{DDC31705-0073-4C21-BB89-FCDF03AB2943}"/>
          </ac:spMkLst>
        </pc:spChg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8" creationId="{9A719AD5-BC9E-4FDF-AF6D-C9E522D09C46}"/>
          </ac:spMkLst>
        </pc:spChg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9" creationId="{12D091C0-DE10-4AED-84B9-692604098E3B}"/>
          </ac:spMkLst>
        </pc:spChg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10" creationId="{65FDD57E-A2F3-4B5A-B3DD-D82DC6D874FA}"/>
          </ac:spMkLst>
        </pc:spChg>
        <pc:spChg chg="mod">
          <ac:chgData name="Robles, Daniel" userId="fbcefa1a-afe9-41c1-8f2c-c18cf39f3320" providerId="ADAL" clId="{CFAEFA92-8A4B-4120-BCA2-1909F2FDD0EC}" dt="2022-08-19T14:11:15.258" v="87"/>
          <ac:spMkLst>
            <pc:docMk/>
            <pc:sldMk cId="1073662527" sldId="461"/>
            <ac:spMk id="11" creationId="{5D33650F-C757-41A9-855B-867C34606B0A}"/>
          </ac:spMkLst>
        </pc:spChg>
        <pc:spChg chg="add mod">
          <ac:chgData name="Robles, Daniel" userId="fbcefa1a-afe9-41c1-8f2c-c18cf39f3320" providerId="ADAL" clId="{CFAEFA92-8A4B-4120-BCA2-1909F2FDD0EC}" dt="2022-08-19T14:11:20.052" v="88" actId="1076"/>
          <ac:spMkLst>
            <pc:docMk/>
            <pc:sldMk cId="1073662527" sldId="461"/>
            <ac:spMk id="12" creationId="{902B4DA2-498A-4059-BFA0-8CBE1D1B5BB4}"/>
          </ac:spMkLst>
        </pc:spChg>
        <pc:spChg chg="add mod">
          <ac:chgData name="Robles, Daniel" userId="fbcefa1a-afe9-41c1-8f2c-c18cf39f3320" providerId="ADAL" clId="{CFAEFA92-8A4B-4120-BCA2-1909F2FDD0EC}" dt="2022-08-19T14:11:20.052" v="88" actId="1076"/>
          <ac:spMkLst>
            <pc:docMk/>
            <pc:sldMk cId="1073662527" sldId="461"/>
            <ac:spMk id="13" creationId="{9FB0CF95-7AEE-46C0-88F3-0BCBDDF985CA}"/>
          </ac:spMkLst>
        </pc:spChg>
        <pc:spChg chg="add mod">
          <ac:chgData name="Robles, Daniel" userId="fbcefa1a-afe9-41c1-8f2c-c18cf39f3320" providerId="ADAL" clId="{CFAEFA92-8A4B-4120-BCA2-1909F2FDD0EC}" dt="2022-08-19T14:11:20.052" v="88" actId="1076"/>
          <ac:spMkLst>
            <pc:docMk/>
            <pc:sldMk cId="1073662527" sldId="461"/>
            <ac:spMk id="14" creationId="{B579A6FE-D2ED-40F8-9F5D-39186055CB2B}"/>
          </ac:spMkLst>
        </pc:spChg>
        <pc:grpChg chg="add mod">
          <ac:chgData name="Robles, Daniel" userId="fbcefa1a-afe9-41c1-8f2c-c18cf39f3320" providerId="ADAL" clId="{CFAEFA92-8A4B-4120-BCA2-1909F2FDD0EC}" dt="2022-08-19T14:11:20.052" v="88" actId="1076"/>
          <ac:grpSpMkLst>
            <pc:docMk/>
            <pc:sldMk cId="1073662527" sldId="461"/>
            <ac:grpSpMk id="5" creationId="{FB840BEB-3161-4B54-80BF-48024B0C428B}"/>
          </ac:grpSpMkLst>
        </pc:grpChg>
      </pc:sldChg>
      <pc:sldChg chg="delSp modSp mod">
        <pc:chgData name="Robles, Daniel" userId="fbcefa1a-afe9-41c1-8f2c-c18cf39f3320" providerId="ADAL" clId="{CFAEFA92-8A4B-4120-BCA2-1909F2FDD0EC}" dt="2022-08-19T14:15:04.786" v="105" actId="478"/>
        <pc:sldMkLst>
          <pc:docMk/>
          <pc:sldMk cId="2745247743" sldId="462"/>
        </pc:sldMkLst>
        <pc:spChg chg="del">
          <ac:chgData name="Robles, Daniel" userId="fbcefa1a-afe9-41c1-8f2c-c18cf39f3320" providerId="ADAL" clId="{CFAEFA92-8A4B-4120-BCA2-1909F2FDD0EC}" dt="2022-08-19T14:15:00.274" v="98" actId="478"/>
          <ac:spMkLst>
            <pc:docMk/>
            <pc:sldMk cId="2745247743" sldId="462"/>
            <ac:spMk id="9" creationId="{32836626-D455-409E-B575-2572BD493185}"/>
          </ac:spMkLst>
        </pc:spChg>
        <pc:spChg chg="del mod">
          <ac:chgData name="Robles, Daniel" userId="fbcefa1a-afe9-41c1-8f2c-c18cf39f3320" providerId="ADAL" clId="{CFAEFA92-8A4B-4120-BCA2-1909F2FDD0EC}" dt="2022-08-19T14:15:03.093" v="101" actId="478"/>
          <ac:spMkLst>
            <pc:docMk/>
            <pc:sldMk cId="2745247743" sldId="462"/>
            <ac:spMk id="10" creationId="{D98491D6-493B-4DEB-A848-8BA7B7A383F0}"/>
          </ac:spMkLst>
        </pc:spChg>
        <pc:spChg chg="del mod">
          <ac:chgData name="Robles, Daniel" userId="fbcefa1a-afe9-41c1-8f2c-c18cf39f3320" providerId="ADAL" clId="{CFAEFA92-8A4B-4120-BCA2-1909F2FDD0EC}" dt="2022-08-19T14:15:04.034" v="103" actId="478"/>
          <ac:spMkLst>
            <pc:docMk/>
            <pc:sldMk cId="2745247743" sldId="462"/>
            <ac:spMk id="11" creationId="{5916510F-FC5C-4FE5-AF63-F02F61C7FA25}"/>
          </ac:spMkLst>
        </pc:spChg>
        <pc:spChg chg="del mod">
          <ac:chgData name="Robles, Daniel" userId="fbcefa1a-afe9-41c1-8f2c-c18cf39f3320" providerId="ADAL" clId="{CFAEFA92-8A4B-4120-BCA2-1909F2FDD0EC}" dt="2022-08-19T14:15:04.786" v="105" actId="478"/>
          <ac:spMkLst>
            <pc:docMk/>
            <pc:sldMk cId="2745247743" sldId="462"/>
            <ac:spMk id="12" creationId="{CCC04ACA-F1C7-41A5-AA9C-7A97553DCF4F}"/>
          </ac:spMkLst>
        </pc:spChg>
      </pc:sldChg>
      <pc:sldChg chg="delSp mod">
        <pc:chgData name="Robles, Daniel" userId="fbcefa1a-afe9-41c1-8f2c-c18cf39f3320" providerId="ADAL" clId="{CFAEFA92-8A4B-4120-BCA2-1909F2FDD0EC}" dt="2022-08-19T13:53:31.316" v="28" actId="478"/>
        <pc:sldMkLst>
          <pc:docMk/>
          <pc:sldMk cId="4141369604" sldId="675"/>
        </pc:sldMkLst>
        <pc:grpChg chg="del">
          <ac:chgData name="Robles, Daniel" userId="fbcefa1a-afe9-41c1-8f2c-c18cf39f3320" providerId="ADAL" clId="{CFAEFA92-8A4B-4120-BCA2-1909F2FDD0EC}" dt="2022-08-19T13:53:31.316" v="28" actId="478"/>
          <ac:grpSpMkLst>
            <pc:docMk/>
            <pc:sldMk cId="4141369604" sldId="675"/>
            <ac:grpSpMk id="22" creationId="{35AEB986-488A-43A6-B167-6E2F8F5F4709}"/>
          </ac:grpSpMkLst>
        </pc:grpChg>
      </pc:sldChg>
      <pc:sldChg chg="addSp delSp modSp mod">
        <pc:chgData name="Robles, Daniel" userId="fbcefa1a-afe9-41c1-8f2c-c18cf39f3320" providerId="ADAL" clId="{CFAEFA92-8A4B-4120-BCA2-1909F2FDD0EC}" dt="2022-08-19T14:07:47.417" v="75" actId="1076"/>
        <pc:sldMkLst>
          <pc:docMk/>
          <pc:sldMk cId="1701514505" sldId="676"/>
        </pc:sldMkLst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6" creationId="{3C2D7AE3-9B39-47E6-9A97-7B7E18E7BE02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7" creationId="{5E7CB60C-AF9B-44A2-9B45-80CD46AB1839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8" creationId="{943AF652-7583-48B2-A850-1A47FDBF5E60}"/>
          </ac:spMkLst>
        </pc:spChg>
        <pc:spChg chg="mod">
          <ac:chgData name="Robles, Daniel" userId="fbcefa1a-afe9-41c1-8f2c-c18cf39f3320" providerId="ADAL" clId="{CFAEFA92-8A4B-4120-BCA2-1909F2FDD0EC}" dt="2022-08-19T14:07:43.867" v="73" actId="14100"/>
          <ac:spMkLst>
            <pc:docMk/>
            <pc:sldMk cId="1701514505" sldId="676"/>
            <ac:spMk id="9" creationId="{00000000-0000-0000-0000-000000000000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0" creationId="{A9C46DF1-B943-409B-AC9A-801E9BD6E5F5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1" creationId="{EF938A1F-5684-49BC-9404-AC9AF8D8E503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2" creationId="{E357FB3B-2061-4E64-8313-F78BDA1DA4E8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3" creationId="{BF946494-898B-444E-AEE7-33BB5747E542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4" creationId="{95E8C2CE-FA2D-46F2-9617-C13B2D9B8B27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5" creationId="{E08B5EC0-11B2-414F-AE5A-7C015236EF8E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19" creationId="{A86945A6-8828-4B0A-831A-7E53BE5E01BA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0" creationId="{15E6F838-D079-4EA1-8739-73FDFF942E98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1" creationId="{D1125696-D2D6-4658-9E50-8FDA448E8B70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2" creationId="{82924828-B689-483B-A7E3-53A539D67E68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3" creationId="{C8A0EDAB-B114-4859-9FDA-521A71B9607F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4" creationId="{FACC9039-3400-4015-B046-6A907DAFBF68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5" creationId="{AC70400D-A499-4707-9B2F-7938B6156272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6" creationId="{F1CCC128-EDDD-4AA6-B9D8-7FADC073BFFC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7" creationId="{ACD35160-EEDD-43EE-8BE4-3DC6AA536B10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8" creationId="{2E06C708-D74F-4EAB-91AE-3BE12D9D6A7C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29" creationId="{5093B876-61EE-439E-BF81-8B30B1C02A99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30" creationId="{53763A19-5BDC-4BE7-BC16-1DDF7BFFEEFF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31" creationId="{3796FCC9-F737-4E48-AE1F-FB0911CC9695}"/>
          </ac:spMkLst>
        </pc:spChg>
        <pc:spChg chg="mod">
          <ac:chgData name="Robles, Daniel" userId="fbcefa1a-afe9-41c1-8f2c-c18cf39f3320" providerId="ADAL" clId="{CFAEFA92-8A4B-4120-BCA2-1909F2FDD0EC}" dt="2022-08-19T13:59:23.297" v="60"/>
          <ac:spMkLst>
            <pc:docMk/>
            <pc:sldMk cId="1701514505" sldId="676"/>
            <ac:spMk id="32" creationId="{E80A71B7-29FB-4367-AB05-146737035E60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4" creationId="{679FA2B3-0E96-467D-B7C3-F1A152D5EE47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5" creationId="{7FE3BF99-89F4-4EF5-B7DE-3D2AD0760FC8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6" creationId="{B05628F8-8716-42C7-BB67-6327D7A4D917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7" creationId="{F928B920-E21F-4BB9-88C7-871B1477B835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8" creationId="{6C4B9385-F670-4EA8-BFE2-21D8C721719F}"/>
          </ac:spMkLst>
        </pc:spChg>
        <pc:spChg chg="mod">
          <ac:chgData name="Robles, Daniel" userId="fbcefa1a-afe9-41c1-8f2c-c18cf39f3320" providerId="ADAL" clId="{CFAEFA92-8A4B-4120-BCA2-1909F2FDD0EC}" dt="2022-08-19T14:07:18.320" v="67"/>
          <ac:spMkLst>
            <pc:docMk/>
            <pc:sldMk cId="1701514505" sldId="676"/>
            <ac:spMk id="39" creationId="{B8F58CC0-CAE1-4A87-802F-B20C023D0EEA}"/>
          </ac:spMkLst>
        </pc:spChg>
        <pc:spChg chg="add del mod">
          <ac:chgData name="Robles, Daniel" userId="fbcefa1a-afe9-41c1-8f2c-c18cf39f3320" providerId="ADAL" clId="{CFAEFA92-8A4B-4120-BCA2-1909F2FDD0EC}" dt="2022-08-19T14:07:21.852" v="70"/>
          <ac:spMkLst>
            <pc:docMk/>
            <pc:sldMk cId="1701514505" sldId="676"/>
            <ac:spMk id="40" creationId="{5A62BC29-24C3-4AC6-B99A-7245F99108BC}"/>
          </ac:spMkLst>
        </pc:spChg>
        <pc:spChg chg="add del mod">
          <ac:chgData name="Robles, Daniel" userId="fbcefa1a-afe9-41c1-8f2c-c18cf39f3320" providerId="ADAL" clId="{CFAEFA92-8A4B-4120-BCA2-1909F2FDD0EC}" dt="2022-08-19T14:07:21.852" v="70"/>
          <ac:spMkLst>
            <pc:docMk/>
            <pc:sldMk cId="1701514505" sldId="676"/>
            <ac:spMk id="41" creationId="{41240FBE-332F-4107-B57E-4A292B60415B}"/>
          </ac:spMkLst>
        </pc:spChg>
        <pc:spChg chg="add del mod">
          <ac:chgData name="Robles, Daniel" userId="fbcefa1a-afe9-41c1-8f2c-c18cf39f3320" providerId="ADAL" clId="{CFAEFA92-8A4B-4120-BCA2-1909F2FDD0EC}" dt="2022-08-19T14:07:21.852" v="70"/>
          <ac:spMkLst>
            <pc:docMk/>
            <pc:sldMk cId="1701514505" sldId="676"/>
            <ac:spMk id="42" creationId="{C349ACC9-ACC1-4331-AB20-2664EA4BDD94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4" creationId="{A7616282-9FB6-4D43-A0DB-6D1AC2B34451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5" creationId="{298A5419-D6BC-4A62-AC19-A4148C1A3C03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6" creationId="{077DB440-3E0E-4593-BACD-B176D0DBF2AD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7" creationId="{001BFD54-AC2F-47CB-8CCD-84744EA9A5DA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8" creationId="{8AB7F9AB-6675-43DB-B962-BD0C460F9C7D}"/>
          </ac:spMkLst>
        </pc:spChg>
        <pc:spChg chg="mod">
          <ac:chgData name="Robles, Daniel" userId="fbcefa1a-afe9-41c1-8f2c-c18cf39f3320" providerId="ADAL" clId="{CFAEFA92-8A4B-4120-BCA2-1909F2FDD0EC}" dt="2022-08-19T14:07:22.511" v="71"/>
          <ac:spMkLst>
            <pc:docMk/>
            <pc:sldMk cId="1701514505" sldId="676"/>
            <ac:spMk id="49" creationId="{BAD3F829-E6F2-400A-AFB9-AAF5B4370609}"/>
          </ac:spMkLst>
        </pc:spChg>
        <pc:spChg chg="add mod">
          <ac:chgData name="Robles, Daniel" userId="fbcefa1a-afe9-41c1-8f2c-c18cf39f3320" providerId="ADAL" clId="{CFAEFA92-8A4B-4120-BCA2-1909F2FDD0EC}" dt="2022-08-19T14:07:26.857" v="72" actId="1076"/>
          <ac:spMkLst>
            <pc:docMk/>
            <pc:sldMk cId="1701514505" sldId="676"/>
            <ac:spMk id="50" creationId="{E8B99C6C-6341-42FA-8782-F9A2A9997B89}"/>
          </ac:spMkLst>
        </pc:spChg>
        <pc:spChg chg="add mod">
          <ac:chgData name="Robles, Daniel" userId="fbcefa1a-afe9-41c1-8f2c-c18cf39f3320" providerId="ADAL" clId="{CFAEFA92-8A4B-4120-BCA2-1909F2FDD0EC}" dt="2022-08-19T14:07:26.857" v="72" actId="1076"/>
          <ac:spMkLst>
            <pc:docMk/>
            <pc:sldMk cId="1701514505" sldId="676"/>
            <ac:spMk id="51" creationId="{C051B629-1B86-4E42-8905-E55A30243733}"/>
          </ac:spMkLst>
        </pc:spChg>
        <pc:spChg chg="add mod">
          <ac:chgData name="Robles, Daniel" userId="fbcefa1a-afe9-41c1-8f2c-c18cf39f3320" providerId="ADAL" clId="{CFAEFA92-8A4B-4120-BCA2-1909F2FDD0EC}" dt="2022-08-19T14:07:26.857" v="72" actId="1076"/>
          <ac:spMkLst>
            <pc:docMk/>
            <pc:sldMk cId="1701514505" sldId="676"/>
            <ac:spMk id="52" creationId="{6EABDFAA-3CC4-4C2E-89B0-CA8A364EC71C}"/>
          </ac:spMkLst>
        </pc:spChg>
        <pc:grpChg chg="add del mod">
          <ac:chgData name="Robles, Daniel" userId="fbcefa1a-afe9-41c1-8f2c-c18cf39f3320" providerId="ADAL" clId="{CFAEFA92-8A4B-4120-BCA2-1909F2FDD0EC}" dt="2022-08-19T13:59:30.433" v="63"/>
          <ac:grpSpMkLst>
            <pc:docMk/>
            <pc:sldMk cId="1701514505" sldId="676"/>
            <ac:grpSpMk id="5" creationId="{B2B8E443-3727-4D6E-A6D8-027A92CFA7F2}"/>
          </ac:grpSpMkLst>
        </pc:grpChg>
        <pc:grpChg chg="mod">
          <ac:chgData name="Robles, Daniel" userId="fbcefa1a-afe9-41c1-8f2c-c18cf39f3320" providerId="ADAL" clId="{CFAEFA92-8A4B-4120-BCA2-1909F2FDD0EC}" dt="2022-08-19T13:59:23.297" v="60"/>
          <ac:grpSpMkLst>
            <pc:docMk/>
            <pc:sldMk cId="1701514505" sldId="676"/>
            <ac:grpSpMk id="16" creationId="{102502F1-8091-453B-BFFF-2F9BCF3862C6}"/>
          </ac:grpSpMkLst>
        </pc:grpChg>
        <pc:grpChg chg="mod">
          <ac:chgData name="Robles, Daniel" userId="fbcefa1a-afe9-41c1-8f2c-c18cf39f3320" providerId="ADAL" clId="{CFAEFA92-8A4B-4120-BCA2-1909F2FDD0EC}" dt="2022-08-19T13:59:23.297" v="60"/>
          <ac:grpSpMkLst>
            <pc:docMk/>
            <pc:sldMk cId="1701514505" sldId="676"/>
            <ac:grpSpMk id="17" creationId="{7F419BD2-E5AD-43AC-9BD3-909F52185B07}"/>
          </ac:grpSpMkLst>
        </pc:grpChg>
        <pc:grpChg chg="mod">
          <ac:chgData name="Robles, Daniel" userId="fbcefa1a-afe9-41c1-8f2c-c18cf39f3320" providerId="ADAL" clId="{CFAEFA92-8A4B-4120-BCA2-1909F2FDD0EC}" dt="2022-08-19T13:59:23.297" v="60"/>
          <ac:grpSpMkLst>
            <pc:docMk/>
            <pc:sldMk cId="1701514505" sldId="676"/>
            <ac:grpSpMk id="18" creationId="{8CC9EA14-503E-474C-B1C1-B0FDCDDB10DA}"/>
          </ac:grpSpMkLst>
        </pc:grpChg>
        <pc:grpChg chg="add del mod">
          <ac:chgData name="Robles, Daniel" userId="fbcefa1a-afe9-41c1-8f2c-c18cf39f3320" providerId="ADAL" clId="{CFAEFA92-8A4B-4120-BCA2-1909F2FDD0EC}" dt="2022-08-19T14:07:21.852" v="70"/>
          <ac:grpSpMkLst>
            <pc:docMk/>
            <pc:sldMk cId="1701514505" sldId="676"/>
            <ac:grpSpMk id="33" creationId="{DDCD5B77-9BE9-45CD-AA4D-E878FF0F1756}"/>
          </ac:grpSpMkLst>
        </pc:grpChg>
        <pc:grpChg chg="add mod">
          <ac:chgData name="Robles, Daniel" userId="fbcefa1a-afe9-41c1-8f2c-c18cf39f3320" providerId="ADAL" clId="{CFAEFA92-8A4B-4120-BCA2-1909F2FDD0EC}" dt="2022-08-19T14:07:26.857" v="72" actId="1076"/>
          <ac:grpSpMkLst>
            <pc:docMk/>
            <pc:sldMk cId="1701514505" sldId="676"/>
            <ac:grpSpMk id="43" creationId="{D086D5B9-9804-4F35-8D02-941AA8DE7B14}"/>
          </ac:grpSpMkLst>
        </pc:grpChg>
        <pc:picChg chg="mod">
          <ac:chgData name="Robles, Daniel" userId="fbcefa1a-afe9-41c1-8f2c-c18cf39f3320" providerId="ADAL" clId="{CFAEFA92-8A4B-4120-BCA2-1909F2FDD0EC}" dt="2022-08-19T14:07:47.417" v="75" actId="1076"/>
          <ac:picMkLst>
            <pc:docMk/>
            <pc:sldMk cId="1701514505" sldId="676"/>
            <ac:picMk id="4" creationId="{81D6E040-1F5B-419B-98D4-7317EF949E62}"/>
          </ac:picMkLst>
        </pc:picChg>
      </pc:sldChg>
      <pc:sldChg chg="addSp delSp modSp mod">
        <pc:chgData name="Robles, Daniel" userId="fbcefa1a-afe9-41c1-8f2c-c18cf39f3320" providerId="ADAL" clId="{CFAEFA92-8A4B-4120-BCA2-1909F2FDD0EC}" dt="2022-08-19T14:08:15.708" v="78" actId="1076"/>
        <pc:sldMkLst>
          <pc:docMk/>
          <pc:sldMk cId="3876084295" sldId="677"/>
        </pc:sldMkLst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16" creationId="{C8E19846-2EC1-46DB-8504-966775F03D61}"/>
          </ac:spMkLst>
        </pc:spChg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17" creationId="{92A8FFFA-4ADE-42FF-BEF5-9BC4AFDB365C}"/>
          </ac:spMkLst>
        </pc:spChg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18" creationId="{CA531134-FD62-48E3-BA66-5CC05C9ADD28}"/>
          </ac:spMkLst>
        </pc:spChg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19" creationId="{D85275AA-C27F-46D5-BD1E-F45BF377B2AB}"/>
          </ac:spMkLst>
        </pc:spChg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20" creationId="{D9050D54-7787-48CB-8907-A4F759FB39C8}"/>
          </ac:spMkLst>
        </pc:spChg>
        <pc:spChg chg="mod">
          <ac:chgData name="Robles, Daniel" userId="fbcefa1a-afe9-41c1-8f2c-c18cf39f3320" providerId="ADAL" clId="{CFAEFA92-8A4B-4120-BCA2-1909F2FDD0EC}" dt="2022-08-19T14:08:08.799" v="77"/>
          <ac:spMkLst>
            <pc:docMk/>
            <pc:sldMk cId="3876084295" sldId="677"/>
            <ac:spMk id="21" creationId="{1FBEF2BD-8D23-4BE3-94DB-77748527CB12}"/>
          </ac:spMkLst>
        </pc:spChg>
        <pc:spChg chg="add mod">
          <ac:chgData name="Robles, Daniel" userId="fbcefa1a-afe9-41c1-8f2c-c18cf39f3320" providerId="ADAL" clId="{CFAEFA92-8A4B-4120-BCA2-1909F2FDD0EC}" dt="2022-08-19T14:08:15.708" v="78" actId="1076"/>
          <ac:spMkLst>
            <pc:docMk/>
            <pc:sldMk cId="3876084295" sldId="677"/>
            <ac:spMk id="22" creationId="{43F52CA2-B792-43A1-8AC0-8DD75B6E9FAC}"/>
          </ac:spMkLst>
        </pc:spChg>
        <pc:spChg chg="add mod">
          <ac:chgData name="Robles, Daniel" userId="fbcefa1a-afe9-41c1-8f2c-c18cf39f3320" providerId="ADAL" clId="{CFAEFA92-8A4B-4120-BCA2-1909F2FDD0EC}" dt="2022-08-19T14:08:15.708" v="78" actId="1076"/>
          <ac:spMkLst>
            <pc:docMk/>
            <pc:sldMk cId="3876084295" sldId="677"/>
            <ac:spMk id="23" creationId="{AC7C28FB-B80F-4A51-B66B-38890A1F0970}"/>
          </ac:spMkLst>
        </pc:spChg>
        <pc:spChg chg="add mod">
          <ac:chgData name="Robles, Daniel" userId="fbcefa1a-afe9-41c1-8f2c-c18cf39f3320" providerId="ADAL" clId="{CFAEFA92-8A4B-4120-BCA2-1909F2FDD0EC}" dt="2022-08-19T14:08:15.708" v="78" actId="1076"/>
          <ac:spMkLst>
            <pc:docMk/>
            <pc:sldMk cId="3876084295" sldId="677"/>
            <ac:spMk id="24" creationId="{953829C8-518A-4311-B746-8286050C5940}"/>
          </ac:spMkLst>
        </pc:spChg>
        <pc:grpChg chg="del">
          <ac:chgData name="Robles, Daniel" userId="fbcefa1a-afe9-41c1-8f2c-c18cf39f3320" providerId="ADAL" clId="{CFAEFA92-8A4B-4120-BCA2-1909F2FDD0EC}" dt="2022-08-19T14:08:07.463" v="76" actId="478"/>
          <ac:grpSpMkLst>
            <pc:docMk/>
            <pc:sldMk cId="3876084295" sldId="677"/>
            <ac:grpSpMk id="2" creationId="{C93BAFB2-F12C-48CC-B5D9-AB9A63F15CBA}"/>
          </ac:grpSpMkLst>
        </pc:grpChg>
        <pc:grpChg chg="add mod">
          <ac:chgData name="Robles, Daniel" userId="fbcefa1a-afe9-41c1-8f2c-c18cf39f3320" providerId="ADAL" clId="{CFAEFA92-8A4B-4120-BCA2-1909F2FDD0EC}" dt="2022-08-19T14:08:15.708" v="78" actId="1076"/>
          <ac:grpSpMkLst>
            <pc:docMk/>
            <pc:sldMk cId="3876084295" sldId="677"/>
            <ac:grpSpMk id="15" creationId="{5313571B-F8B6-41C8-BB3E-58A496FE14BC}"/>
          </ac:grpSpMkLst>
        </pc:grpChg>
      </pc:sldChg>
      <pc:sldChg chg="addSp delSp modSp mod">
        <pc:chgData name="Robles, Daniel" userId="fbcefa1a-afe9-41c1-8f2c-c18cf39f3320" providerId="ADAL" clId="{CFAEFA92-8A4B-4120-BCA2-1909F2FDD0EC}" dt="2022-08-19T14:37:59.719" v="144" actId="14100"/>
        <pc:sldMkLst>
          <pc:docMk/>
          <pc:sldMk cId="1984168158" sldId="678"/>
        </pc:sldMkLst>
        <pc:spChg chg="del">
          <ac:chgData name="Robles, Daniel" userId="fbcefa1a-afe9-41c1-8f2c-c18cf39f3320" providerId="ADAL" clId="{CFAEFA92-8A4B-4120-BCA2-1909F2FDD0EC}" dt="2022-08-19T14:34:11.223" v="107" actId="478"/>
          <ac:spMkLst>
            <pc:docMk/>
            <pc:sldMk cId="1984168158" sldId="678"/>
            <ac:spMk id="4" creationId="{94AC133D-E186-3958-B748-2EDBA2B7F432}"/>
          </ac:spMkLst>
        </pc:spChg>
        <pc:spChg chg="del">
          <ac:chgData name="Robles, Daniel" userId="fbcefa1a-afe9-41c1-8f2c-c18cf39f3320" providerId="ADAL" clId="{CFAEFA92-8A4B-4120-BCA2-1909F2FDD0EC}" dt="2022-08-19T14:34:11.679" v="108" actId="478"/>
          <ac:spMkLst>
            <pc:docMk/>
            <pc:sldMk cId="1984168158" sldId="678"/>
            <ac:spMk id="7" creationId="{A7A673A4-7610-2638-DEFF-197D71CF1127}"/>
          </ac:spMkLst>
        </pc:spChg>
        <pc:spChg chg="add mod">
          <ac:chgData name="Robles, Daniel" userId="fbcefa1a-afe9-41c1-8f2c-c18cf39f3320" providerId="ADAL" clId="{CFAEFA92-8A4B-4120-BCA2-1909F2FDD0EC}" dt="2022-08-19T14:37:59.719" v="144" actId="14100"/>
          <ac:spMkLst>
            <pc:docMk/>
            <pc:sldMk cId="1984168158" sldId="678"/>
            <ac:spMk id="8" creationId="{6BE0BFED-41E6-4BDA-8D76-0504E7A0FCDC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16" creationId="{5BDADC8A-D72F-44BF-A425-C7B3F86E90B0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17" creationId="{C0732E93-A816-4E16-AD9B-4CC10807A32E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18" creationId="{11E0D642-5B18-4F59-BC39-0B8F0D1DD073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19" creationId="{D6EB2A5F-55B7-425C-9AE7-7EE1DB862AEA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20" creationId="{D87B4B8D-FDCD-447A-87FE-5AB8A6007AE7}"/>
          </ac:spMkLst>
        </pc:spChg>
        <pc:spChg chg="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21" creationId="{B4A2CD9E-A51D-4CFA-9D34-9743DE3F5B8A}"/>
          </ac:spMkLst>
        </pc:spChg>
        <pc:spChg chg="add 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22" creationId="{FE2E890A-328C-4683-84AD-8C8D526E7655}"/>
          </ac:spMkLst>
        </pc:spChg>
        <pc:spChg chg="add 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23" creationId="{F00CB85C-A0FC-4D29-BFAD-0E951F30A9A9}"/>
          </ac:spMkLst>
        </pc:spChg>
        <pc:spChg chg="add mod">
          <ac:chgData name="Robles, Daniel" userId="fbcefa1a-afe9-41c1-8f2c-c18cf39f3320" providerId="ADAL" clId="{CFAEFA92-8A4B-4120-BCA2-1909F2FDD0EC}" dt="2022-08-19T14:09:52.201" v="84"/>
          <ac:spMkLst>
            <pc:docMk/>
            <pc:sldMk cId="1984168158" sldId="678"/>
            <ac:spMk id="24" creationId="{E7641651-C13E-41D6-8105-9F9A432F272B}"/>
          </ac:spMkLst>
        </pc:spChg>
        <pc:spChg chg="add mod">
          <ac:chgData name="Robles, Daniel" userId="fbcefa1a-afe9-41c1-8f2c-c18cf39f3320" providerId="ADAL" clId="{CFAEFA92-8A4B-4120-BCA2-1909F2FDD0EC}" dt="2022-08-19T14:37:51.747" v="143" actId="14100"/>
          <ac:spMkLst>
            <pc:docMk/>
            <pc:sldMk cId="1984168158" sldId="678"/>
            <ac:spMk id="25" creationId="{5925D8C4-01EB-4343-A66E-5CB3DF2B638F}"/>
          </ac:spMkLst>
        </pc:spChg>
        <pc:grpChg chg="add del">
          <ac:chgData name="Robles, Daniel" userId="fbcefa1a-afe9-41c1-8f2c-c18cf39f3320" providerId="ADAL" clId="{CFAEFA92-8A4B-4120-BCA2-1909F2FDD0EC}" dt="2022-08-19T14:09:51.652" v="83" actId="478"/>
          <ac:grpSpMkLst>
            <pc:docMk/>
            <pc:sldMk cId="1984168158" sldId="678"/>
            <ac:grpSpMk id="9" creationId="{6F4FE315-CCB0-48A9-B138-5951FDCB7D54}"/>
          </ac:grpSpMkLst>
        </pc:grpChg>
        <pc:grpChg chg="add mod">
          <ac:chgData name="Robles, Daniel" userId="fbcefa1a-afe9-41c1-8f2c-c18cf39f3320" providerId="ADAL" clId="{CFAEFA92-8A4B-4120-BCA2-1909F2FDD0EC}" dt="2022-08-19T14:09:52.201" v="84"/>
          <ac:grpSpMkLst>
            <pc:docMk/>
            <pc:sldMk cId="1984168158" sldId="678"/>
            <ac:grpSpMk id="15" creationId="{F5729BC6-4B6A-4E19-87E5-989CEE052CEA}"/>
          </ac:grpSpMkLst>
        </pc:grpChg>
      </pc:sldChg>
      <pc:sldChg chg="delSp modSp mod">
        <pc:chgData name="Robles, Daniel" userId="fbcefa1a-afe9-41c1-8f2c-c18cf39f3320" providerId="ADAL" clId="{CFAEFA92-8A4B-4120-BCA2-1909F2FDD0EC}" dt="2022-08-19T13:53:29.026" v="27" actId="478"/>
        <pc:sldMkLst>
          <pc:docMk/>
          <pc:sldMk cId="3801684248" sldId="679"/>
        </pc:sldMkLst>
        <pc:spChg chg="mod">
          <ac:chgData name="Robles, Daniel" userId="fbcefa1a-afe9-41c1-8f2c-c18cf39f3320" providerId="ADAL" clId="{CFAEFA92-8A4B-4120-BCA2-1909F2FDD0EC}" dt="2022-08-19T13:35:37.630" v="15" actId="404"/>
          <ac:spMkLst>
            <pc:docMk/>
            <pc:sldMk cId="3801684248" sldId="679"/>
            <ac:spMk id="9" creationId="{1BCB30E5-9BA3-40E0-AC30-3B789D6530C5}"/>
          </ac:spMkLst>
        </pc:spChg>
        <pc:spChg chg="mod">
          <ac:chgData name="Robles, Daniel" userId="fbcefa1a-afe9-41c1-8f2c-c18cf39f3320" providerId="ADAL" clId="{CFAEFA92-8A4B-4120-BCA2-1909F2FDD0EC}" dt="2022-08-19T13:35:37.630" v="15" actId="404"/>
          <ac:spMkLst>
            <pc:docMk/>
            <pc:sldMk cId="3801684248" sldId="679"/>
            <ac:spMk id="11" creationId="{9C8A0E1C-3F73-4E22-B049-7A5E03A4661C}"/>
          </ac:spMkLst>
        </pc:spChg>
        <pc:spChg chg="mod">
          <ac:chgData name="Robles, Daniel" userId="fbcefa1a-afe9-41c1-8f2c-c18cf39f3320" providerId="ADAL" clId="{CFAEFA92-8A4B-4120-BCA2-1909F2FDD0EC}" dt="2022-08-19T13:35:37.630" v="15" actId="404"/>
          <ac:spMkLst>
            <pc:docMk/>
            <pc:sldMk cId="3801684248" sldId="679"/>
            <ac:spMk id="12" creationId="{9E547E51-3230-4731-9475-647D4EF8E715}"/>
          </ac:spMkLst>
        </pc:spChg>
        <pc:spChg chg="mod">
          <ac:chgData name="Robles, Daniel" userId="fbcefa1a-afe9-41c1-8f2c-c18cf39f3320" providerId="ADAL" clId="{CFAEFA92-8A4B-4120-BCA2-1909F2FDD0EC}" dt="2022-08-19T13:35:37.630" v="15" actId="404"/>
          <ac:spMkLst>
            <pc:docMk/>
            <pc:sldMk cId="3801684248" sldId="679"/>
            <ac:spMk id="13" creationId="{A91BDCB4-6B6B-4BCA-BD52-FA1D5F54B356}"/>
          </ac:spMkLst>
        </pc:spChg>
        <pc:grpChg chg="del">
          <ac:chgData name="Robles, Daniel" userId="fbcefa1a-afe9-41c1-8f2c-c18cf39f3320" providerId="ADAL" clId="{CFAEFA92-8A4B-4120-BCA2-1909F2FDD0EC}" dt="2022-08-19T13:53:29.026" v="27" actId="478"/>
          <ac:grpSpMkLst>
            <pc:docMk/>
            <pc:sldMk cId="3801684248" sldId="679"/>
            <ac:grpSpMk id="2" creationId="{53B0F4F8-2FC0-4377-AA72-096019C5916C}"/>
          </ac:grpSpMkLst>
        </pc:grpChg>
      </pc:sldChg>
      <pc:sldChg chg="addSp delSp modSp mod">
        <pc:chgData name="Robles, Daniel" userId="fbcefa1a-afe9-41c1-8f2c-c18cf39f3320" providerId="ADAL" clId="{CFAEFA92-8A4B-4120-BCA2-1909F2FDD0EC}" dt="2022-08-19T14:52:55.246" v="423" actId="1076"/>
        <pc:sldMkLst>
          <pc:docMk/>
          <pc:sldMk cId="3923910200" sldId="680"/>
        </pc:sldMkLst>
        <pc:spChg chg="del">
          <ac:chgData name="Robles, Daniel" userId="fbcefa1a-afe9-41c1-8f2c-c18cf39f3320" providerId="ADAL" clId="{CFAEFA92-8A4B-4120-BCA2-1909F2FDD0EC}" dt="2022-08-19T14:34:03.464" v="106" actId="478"/>
          <ac:spMkLst>
            <pc:docMk/>
            <pc:sldMk cId="3923910200" sldId="680"/>
            <ac:spMk id="4" creationId="{9A5A361D-584A-C208-1DB6-B7767B0FC9EB}"/>
          </ac:spMkLst>
        </pc:spChg>
        <pc:spChg chg="mod">
          <ac:chgData name="Robles, Daniel" userId="fbcefa1a-afe9-41c1-8f2c-c18cf39f3320" providerId="ADAL" clId="{CFAEFA92-8A4B-4120-BCA2-1909F2FDD0EC}" dt="2022-08-19T14:52:55.246" v="423" actId="1076"/>
          <ac:spMkLst>
            <pc:docMk/>
            <pc:sldMk cId="3923910200" sldId="680"/>
            <ac:spMk id="6" creationId="{56894CCE-B834-4C3F-B9F2-F3E11179CB63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17" creationId="{762D2A34-0C09-456C-A1D5-D486E143EE97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18" creationId="{5A259EC6-FC9A-42FD-B5F5-7A2810E7EBD0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19" creationId="{454F8D75-6BAD-4535-831B-30675E9B12A2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0" creationId="{C72C051B-79ED-4311-90C5-85B706CAC723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1" creationId="{2F46052C-9907-4CF9-929F-AD1B7E63A8D5}"/>
          </ac:spMkLst>
        </pc:spChg>
        <pc:spChg chg="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2" creationId="{0469D468-EEDA-44F5-A7F5-C14E27BE03B2}"/>
          </ac:spMkLst>
        </pc:spChg>
        <pc:spChg chg="add 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3" creationId="{8D1B11CB-A374-4186-B831-0D2B01AD291F}"/>
          </ac:spMkLst>
        </pc:spChg>
        <pc:spChg chg="add 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4" creationId="{E68547DE-BFE5-4A3B-B7CB-D37CBBFD3EFB}"/>
          </ac:spMkLst>
        </pc:spChg>
        <pc:spChg chg="add mod">
          <ac:chgData name="Robles, Daniel" userId="fbcefa1a-afe9-41c1-8f2c-c18cf39f3320" providerId="ADAL" clId="{CFAEFA92-8A4B-4120-BCA2-1909F2FDD0EC}" dt="2022-08-19T14:09:58.786" v="86"/>
          <ac:spMkLst>
            <pc:docMk/>
            <pc:sldMk cId="3923910200" sldId="680"/>
            <ac:spMk id="25" creationId="{BCD8B6BB-78A4-4D5D-B943-1B554496909E}"/>
          </ac:spMkLst>
        </pc:spChg>
        <pc:spChg chg="add mod">
          <ac:chgData name="Robles, Daniel" userId="fbcefa1a-afe9-41c1-8f2c-c18cf39f3320" providerId="ADAL" clId="{CFAEFA92-8A4B-4120-BCA2-1909F2FDD0EC}" dt="2022-08-19T14:36:47.621" v="125" actId="14100"/>
          <ac:spMkLst>
            <pc:docMk/>
            <pc:sldMk cId="3923910200" sldId="680"/>
            <ac:spMk id="26" creationId="{99E3AD57-D8A4-4E59-81A6-87131D5564E3}"/>
          </ac:spMkLst>
        </pc:spChg>
        <pc:grpChg chg="del">
          <ac:chgData name="Robles, Daniel" userId="fbcefa1a-afe9-41c1-8f2c-c18cf39f3320" providerId="ADAL" clId="{CFAEFA92-8A4B-4120-BCA2-1909F2FDD0EC}" dt="2022-08-19T14:09:57.772" v="85" actId="478"/>
          <ac:grpSpMkLst>
            <pc:docMk/>
            <pc:sldMk cId="3923910200" sldId="680"/>
            <ac:grpSpMk id="11" creationId="{898B02C5-1EBF-4D8C-BFA8-CB886E0CB1DB}"/>
          </ac:grpSpMkLst>
        </pc:grpChg>
        <pc:grpChg chg="add mod">
          <ac:chgData name="Robles, Daniel" userId="fbcefa1a-afe9-41c1-8f2c-c18cf39f3320" providerId="ADAL" clId="{CFAEFA92-8A4B-4120-BCA2-1909F2FDD0EC}" dt="2022-08-19T14:09:58.786" v="86"/>
          <ac:grpSpMkLst>
            <pc:docMk/>
            <pc:sldMk cId="3923910200" sldId="680"/>
            <ac:grpSpMk id="16" creationId="{88D55C10-2F59-4B10-B25B-7FAF29DAD720}"/>
          </ac:grpSpMkLst>
        </pc:grpChg>
        <pc:picChg chg="ord">
          <ac:chgData name="Robles, Daniel" userId="fbcefa1a-afe9-41c1-8f2c-c18cf39f3320" providerId="ADAL" clId="{CFAEFA92-8A4B-4120-BCA2-1909F2FDD0EC}" dt="2022-08-19T14:52:12.176" v="406" actId="167"/>
          <ac:picMkLst>
            <pc:docMk/>
            <pc:sldMk cId="3923910200" sldId="680"/>
            <ac:picMk id="3" creationId="{B27F7B7B-7F90-B640-3ECF-41D267FB34AA}"/>
          </ac:picMkLst>
        </pc:picChg>
      </pc:sldChg>
      <pc:sldChg chg="addSp delSp modSp mod modNotes">
        <pc:chgData name="Robles, Daniel" userId="fbcefa1a-afe9-41c1-8f2c-c18cf39f3320" providerId="ADAL" clId="{CFAEFA92-8A4B-4120-BCA2-1909F2FDD0EC}" dt="2022-08-19T14:05:05.985" v="65" actId="1076"/>
        <pc:sldMkLst>
          <pc:docMk/>
          <pc:sldMk cId="3436680573" sldId="681"/>
        </pc:sldMkLst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19" creationId="{782352FC-CCB0-4CB9-8D8D-25D9EB1DCFEB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20" creationId="{758B550D-DBD4-467C-AC6A-3DBDD39C1E15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21" creationId="{172D2675-ECC1-4710-B5D1-55BB49FC8165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22" creationId="{4CDCB61F-21EA-4772-A901-1E0AF6F741E9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28" creationId="{A899215A-7D09-48DF-BF30-3B8920F90E24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29" creationId="{FD3D8933-9221-4442-923C-A4DB40684609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0" creationId="{1D2F3AD6-3E55-454E-AC47-DC2C952DEBF6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1" creationId="{E8BC5E78-F377-42D9-A38D-450A69389B94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2" creationId="{E76BBECF-B9FF-4992-875E-E09F86387B08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6" creationId="{39B9A293-393A-4DE8-99EC-6EBFD82991DA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7" creationId="{F369033E-B04B-463E-978B-D83040BE2569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8" creationId="{A18B592D-3877-415F-8483-CBF71DFBEE6D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39" creationId="{F365266A-BE3B-4341-9E54-4FEBA5B0280C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0" creationId="{E122B175-30A4-42E7-B1C6-8F0DA9F596F9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1" creationId="{46F2FEB7-00E0-4E21-9AE7-5E1AF0700FA3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2" creationId="{B1623FB5-6423-42CF-A02C-7D61D0C074FB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3" creationId="{B83EC335-19C6-42F6-8D9F-2BB2F191EF43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4" creationId="{E0B81D6A-8BBA-413B-92C1-B55D727C86BF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5" creationId="{271D5D46-6D04-4AC1-A2F7-5184BC084AFD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6" creationId="{EEF05C77-3181-4C52-8B6A-57C2B834D257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7" creationId="{8295D6EE-8023-48E1-8ECC-059E00DB7412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8" creationId="{5FCF817E-7E7B-4C63-9C05-392197861C90}"/>
          </ac:spMkLst>
        </pc:spChg>
        <pc:spChg chg="mod">
          <ac:chgData name="Robles, Daniel" userId="fbcefa1a-afe9-41c1-8f2c-c18cf39f3320" providerId="ADAL" clId="{CFAEFA92-8A4B-4120-BCA2-1909F2FDD0EC}" dt="2022-08-19T13:58:26.656" v="32"/>
          <ac:spMkLst>
            <pc:docMk/>
            <pc:sldMk cId="3436680573" sldId="681"/>
            <ac:spMk id="49" creationId="{2F8E78FC-0D77-4FF5-A9F2-809E34F94E44}"/>
          </ac:spMkLst>
        </pc:spChg>
        <pc:spChg chg="mod">
          <ac:chgData name="Robles, Daniel" userId="fbcefa1a-afe9-41c1-8f2c-c18cf39f3320" providerId="ADAL" clId="{CFAEFA92-8A4B-4120-BCA2-1909F2FDD0EC}" dt="2022-08-19T13:59:17.368" v="53" actId="113"/>
          <ac:spMkLst>
            <pc:docMk/>
            <pc:sldMk cId="3436680573" sldId="681"/>
            <ac:spMk id="51" creationId="{D10300E4-9DCC-45B7-ACA8-A8A2D8A03B1B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2" creationId="{6F8CE63C-174E-4288-B9F9-D42A8E8EDB28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3" creationId="{B1BB5913-B42A-4640-86FD-E63BC5C8BF84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4" creationId="{105508BA-CD0B-4375-80A3-440F8031CF08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5" creationId="{A7C8AE97-3020-42F2-A063-6D9EEBCC5DF5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6" creationId="{D2B1ADC7-A939-493C-8FCE-3CDC55855636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7" creationId="{8B2FDFAB-F04F-4C00-89DC-45977ECCAB93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8" creationId="{7F0C8C64-4765-4C81-BEAF-9F4C08947232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59" creationId="{3EA34C9C-933B-49EE-B48E-92FE3E1C5FB4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3" creationId="{831BA6D8-1A1F-4E20-9576-7A5647A35249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4" creationId="{02873584-69FE-4162-9FFF-43B43AFE9E08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5" creationId="{D5687BDD-E1D6-44B6-9FD5-D7E2F79F8D56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6" creationId="{F07B7D3F-004A-4AC4-B9FC-228134175B0B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7" creationId="{A203FEDA-895D-404B-8D6F-A67437F98EE2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8" creationId="{708BFB73-0849-4519-AE23-74924A78EF79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69" creationId="{375C3E0F-EA32-45CC-A150-CD5925951CA8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0" creationId="{1FDB7980-0085-4674-8AB1-DFDA29007FAC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1" creationId="{51D69366-50B0-49A2-AA21-A846924A9949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2" creationId="{7A280BD7-1CFA-462F-8EF8-3E53CE00161B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3" creationId="{B227F8AB-1763-402C-9E7C-B505E875991B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4" creationId="{4FA20C46-1140-480E-B9E7-7EE594944A09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5" creationId="{A84B5D7A-5241-4A35-BF87-0FF12D78CF85}"/>
          </ac:spMkLst>
        </pc:spChg>
        <pc:spChg chg="mod">
          <ac:chgData name="Robles, Daniel" userId="fbcefa1a-afe9-41c1-8f2c-c18cf39f3320" providerId="ADAL" clId="{CFAEFA92-8A4B-4120-BCA2-1909F2FDD0EC}" dt="2022-08-19T13:58:38.444" v="34"/>
          <ac:spMkLst>
            <pc:docMk/>
            <pc:sldMk cId="3436680573" sldId="681"/>
            <ac:spMk id="76" creationId="{809B281C-B557-4F2E-BE11-AFACCF566E05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78" creationId="{6C4B2553-F4C5-400B-9F99-13A326079308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79" creationId="{A9538199-5C2F-433B-B5D1-EEA95662B6D2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0" creationId="{E015FCB9-B6B5-49FE-8F2B-FCD9E9F740DA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1" creationId="{0822C14D-A137-4BDD-8059-2FDA9A791699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2" creationId="{F6E19038-7A8B-4AB2-8D04-EAD63F18F92A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3" creationId="{AB5A92C3-674A-4C81-8EBA-A99ECD2804E6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4" creationId="{F8608172-CD78-47D0-A872-D679C4138672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5" creationId="{6B69FF6E-A8D2-48F9-8609-43B9940AE477}"/>
          </ac:spMkLst>
        </pc:spChg>
        <pc:spChg chg="mod">
          <ac:chgData name="Robles, Daniel" userId="fbcefa1a-afe9-41c1-8f2c-c18cf39f3320" providerId="ADAL" clId="{CFAEFA92-8A4B-4120-BCA2-1909F2FDD0EC}" dt="2022-08-19T14:05:01.230" v="64"/>
          <ac:spMkLst>
            <pc:docMk/>
            <pc:sldMk cId="3436680573" sldId="681"/>
            <ac:spMk id="86" creationId="{25481F08-6E96-43EF-A6D1-13EE37547284}"/>
          </ac:spMkLst>
        </pc:spChg>
        <pc:grpChg chg="add del mod">
          <ac:chgData name="Robles, Daniel" userId="fbcefa1a-afe9-41c1-8f2c-c18cf39f3320" providerId="ADAL" clId="{CFAEFA92-8A4B-4120-BCA2-1909F2FDD0EC}" dt="2022-08-19T13:58:29.739" v="33"/>
          <ac:grpSpMkLst>
            <pc:docMk/>
            <pc:sldMk cId="3436680573" sldId="681"/>
            <ac:grpSpMk id="18" creationId="{380DD98F-31A5-4AFE-843A-BF381D155CD1}"/>
          </ac:grpSpMkLst>
        </pc:grpChg>
        <pc:grpChg chg="del">
          <ac:chgData name="Robles, Daniel" userId="fbcefa1a-afe9-41c1-8f2c-c18cf39f3320" providerId="ADAL" clId="{CFAEFA92-8A4B-4120-BCA2-1909F2FDD0EC}" dt="2022-08-19T13:53:50.906" v="31" actId="478"/>
          <ac:grpSpMkLst>
            <pc:docMk/>
            <pc:sldMk cId="3436680573" sldId="681"/>
            <ac:grpSpMk id="23" creationId="{81FB505A-B323-4C72-85D0-09BBCC54B05C}"/>
          </ac:grpSpMkLst>
        </pc:grpChg>
        <pc:grpChg chg="mod">
          <ac:chgData name="Robles, Daniel" userId="fbcefa1a-afe9-41c1-8f2c-c18cf39f3320" providerId="ADAL" clId="{CFAEFA92-8A4B-4120-BCA2-1909F2FDD0EC}" dt="2022-08-19T13:58:26.656" v="32"/>
          <ac:grpSpMkLst>
            <pc:docMk/>
            <pc:sldMk cId="3436680573" sldId="681"/>
            <ac:grpSpMk id="33" creationId="{A0848391-5B87-4B37-A09E-DD86298D88DE}"/>
          </ac:grpSpMkLst>
        </pc:grpChg>
        <pc:grpChg chg="mod">
          <ac:chgData name="Robles, Daniel" userId="fbcefa1a-afe9-41c1-8f2c-c18cf39f3320" providerId="ADAL" clId="{CFAEFA92-8A4B-4120-BCA2-1909F2FDD0EC}" dt="2022-08-19T13:58:26.656" v="32"/>
          <ac:grpSpMkLst>
            <pc:docMk/>
            <pc:sldMk cId="3436680573" sldId="681"/>
            <ac:grpSpMk id="34" creationId="{F7C01795-26AB-4CDB-A3D3-25B00B96C00F}"/>
          </ac:grpSpMkLst>
        </pc:grpChg>
        <pc:grpChg chg="mod">
          <ac:chgData name="Robles, Daniel" userId="fbcefa1a-afe9-41c1-8f2c-c18cf39f3320" providerId="ADAL" clId="{CFAEFA92-8A4B-4120-BCA2-1909F2FDD0EC}" dt="2022-08-19T13:58:26.656" v="32"/>
          <ac:grpSpMkLst>
            <pc:docMk/>
            <pc:sldMk cId="3436680573" sldId="681"/>
            <ac:grpSpMk id="35" creationId="{BDA3CCA7-9C89-42F5-B23F-6C44356A9D86}"/>
          </ac:grpSpMkLst>
        </pc:grpChg>
        <pc:grpChg chg="add del mod">
          <ac:chgData name="Robles, Daniel" userId="fbcefa1a-afe9-41c1-8f2c-c18cf39f3320" providerId="ADAL" clId="{CFAEFA92-8A4B-4120-BCA2-1909F2FDD0EC}" dt="2022-08-19T13:59:20.137" v="59"/>
          <ac:grpSpMkLst>
            <pc:docMk/>
            <pc:sldMk cId="3436680573" sldId="681"/>
            <ac:grpSpMk id="50" creationId="{77C0EE54-AC1B-436D-B521-0267343C1461}"/>
          </ac:grpSpMkLst>
        </pc:grpChg>
        <pc:grpChg chg="mod">
          <ac:chgData name="Robles, Daniel" userId="fbcefa1a-afe9-41c1-8f2c-c18cf39f3320" providerId="ADAL" clId="{CFAEFA92-8A4B-4120-BCA2-1909F2FDD0EC}" dt="2022-08-19T13:58:38.444" v="34"/>
          <ac:grpSpMkLst>
            <pc:docMk/>
            <pc:sldMk cId="3436680573" sldId="681"/>
            <ac:grpSpMk id="60" creationId="{CF6AF03E-89ED-4539-A3D7-06179091C3E4}"/>
          </ac:grpSpMkLst>
        </pc:grpChg>
        <pc:grpChg chg="mod">
          <ac:chgData name="Robles, Daniel" userId="fbcefa1a-afe9-41c1-8f2c-c18cf39f3320" providerId="ADAL" clId="{CFAEFA92-8A4B-4120-BCA2-1909F2FDD0EC}" dt="2022-08-19T13:58:38.444" v="34"/>
          <ac:grpSpMkLst>
            <pc:docMk/>
            <pc:sldMk cId="3436680573" sldId="681"/>
            <ac:grpSpMk id="61" creationId="{5396C19F-F62B-4514-A920-307FE29A98A4}"/>
          </ac:grpSpMkLst>
        </pc:grpChg>
        <pc:grpChg chg="mod">
          <ac:chgData name="Robles, Daniel" userId="fbcefa1a-afe9-41c1-8f2c-c18cf39f3320" providerId="ADAL" clId="{CFAEFA92-8A4B-4120-BCA2-1909F2FDD0EC}" dt="2022-08-19T13:58:38.444" v="34"/>
          <ac:grpSpMkLst>
            <pc:docMk/>
            <pc:sldMk cId="3436680573" sldId="681"/>
            <ac:grpSpMk id="62" creationId="{92C209C7-3468-4E4A-AA08-9AD7F4E16D41}"/>
          </ac:grpSpMkLst>
        </pc:grpChg>
        <pc:grpChg chg="add mod">
          <ac:chgData name="Robles, Daniel" userId="fbcefa1a-afe9-41c1-8f2c-c18cf39f3320" providerId="ADAL" clId="{CFAEFA92-8A4B-4120-BCA2-1909F2FDD0EC}" dt="2022-08-19T14:05:05.985" v="65" actId="1076"/>
          <ac:grpSpMkLst>
            <pc:docMk/>
            <pc:sldMk cId="3436680573" sldId="681"/>
            <ac:grpSpMk id="77" creationId="{313744BA-B378-42FE-A961-29DB849180DC}"/>
          </ac:grpSpMkLst>
        </pc:grpChg>
      </pc:sldChg>
      <pc:sldChg chg="add">
        <pc:chgData name="Robles, Daniel" userId="fbcefa1a-afe9-41c1-8f2c-c18cf39f3320" providerId="ADAL" clId="{CFAEFA92-8A4B-4120-BCA2-1909F2FDD0EC}" dt="2022-08-18T18:39:56.304" v="5"/>
        <pc:sldMkLst>
          <pc:docMk/>
          <pc:sldMk cId="3470529705" sldId="682"/>
        </pc:sldMkLst>
      </pc:sldChg>
      <pc:sldChg chg="addSp modSp mod">
        <pc:chgData name="Robles, Daniel" userId="fbcefa1a-afe9-41c1-8f2c-c18cf39f3320" providerId="ADAL" clId="{CFAEFA92-8A4B-4120-BCA2-1909F2FDD0EC}" dt="2022-08-19T14:09:44.155" v="80" actId="1076"/>
        <pc:sldMkLst>
          <pc:docMk/>
          <pc:sldMk cId="603201446" sldId="684"/>
        </pc:sldMkLst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6" creationId="{D391B7F0-1EF9-494D-AFAC-108A44B91838}"/>
          </ac:spMkLst>
        </pc:spChg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7" creationId="{F1506FFA-E1A5-422C-877D-42B761D0D4B7}"/>
          </ac:spMkLst>
        </pc:spChg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8" creationId="{3B09B40E-E063-42C5-801A-BC2BC6839E12}"/>
          </ac:spMkLst>
        </pc:spChg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9" creationId="{1242F85C-97C8-478E-B3F7-B0ABB06D3CE8}"/>
          </ac:spMkLst>
        </pc:spChg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11" creationId="{6F274B33-7728-418B-ACE5-72EFFEC35E7F}"/>
          </ac:spMkLst>
        </pc:spChg>
        <pc:spChg chg="mod">
          <ac:chgData name="Robles, Daniel" userId="fbcefa1a-afe9-41c1-8f2c-c18cf39f3320" providerId="ADAL" clId="{CFAEFA92-8A4B-4120-BCA2-1909F2FDD0EC}" dt="2022-08-19T14:09:38.537" v="79"/>
          <ac:spMkLst>
            <pc:docMk/>
            <pc:sldMk cId="603201446" sldId="684"/>
            <ac:spMk id="13" creationId="{1EADE0CD-4317-4ADF-81DD-9E3AC75F062F}"/>
          </ac:spMkLst>
        </pc:spChg>
        <pc:spChg chg="add mod">
          <ac:chgData name="Robles, Daniel" userId="fbcefa1a-afe9-41c1-8f2c-c18cf39f3320" providerId="ADAL" clId="{CFAEFA92-8A4B-4120-BCA2-1909F2FDD0EC}" dt="2022-08-19T14:09:44.155" v="80" actId="1076"/>
          <ac:spMkLst>
            <pc:docMk/>
            <pc:sldMk cId="603201446" sldId="684"/>
            <ac:spMk id="14" creationId="{AC5626E8-AAD8-4EB4-BAB1-EA8713616268}"/>
          </ac:spMkLst>
        </pc:spChg>
        <pc:spChg chg="add mod">
          <ac:chgData name="Robles, Daniel" userId="fbcefa1a-afe9-41c1-8f2c-c18cf39f3320" providerId="ADAL" clId="{CFAEFA92-8A4B-4120-BCA2-1909F2FDD0EC}" dt="2022-08-19T14:09:44.155" v="80" actId="1076"/>
          <ac:spMkLst>
            <pc:docMk/>
            <pc:sldMk cId="603201446" sldId="684"/>
            <ac:spMk id="15" creationId="{D70EEE31-2B90-4CBA-A01C-CEB2A8236C73}"/>
          </ac:spMkLst>
        </pc:spChg>
        <pc:spChg chg="add mod">
          <ac:chgData name="Robles, Daniel" userId="fbcefa1a-afe9-41c1-8f2c-c18cf39f3320" providerId="ADAL" clId="{CFAEFA92-8A4B-4120-BCA2-1909F2FDD0EC}" dt="2022-08-19T14:09:44.155" v="80" actId="1076"/>
          <ac:spMkLst>
            <pc:docMk/>
            <pc:sldMk cId="603201446" sldId="684"/>
            <ac:spMk id="16" creationId="{D1605371-CB08-46AC-896B-4D4441363DC4}"/>
          </ac:spMkLst>
        </pc:spChg>
        <pc:grpChg chg="add mod">
          <ac:chgData name="Robles, Daniel" userId="fbcefa1a-afe9-41c1-8f2c-c18cf39f3320" providerId="ADAL" clId="{CFAEFA92-8A4B-4120-BCA2-1909F2FDD0EC}" dt="2022-08-19T14:09:44.155" v="80" actId="1076"/>
          <ac:grpSpMkLst>
            <pc:docMk/>
            <pc:sldMk cId="603201446" sldId="684"/>
            <ac:grpSpMk id="5" creationId="{C429480A-118F-441C-B214-803EDABA3F1F}"/>
          </ac:grpSpMkLst>
        </pc:grpChg>
      </pc:sldChg>
      <pc:sldChg chg="addSp delSp modSp mod">
        <pc:chgData name="Robles, Daniel" userId="fbcefa1a-afe9-41c1-8f2c-c18cf39f3320" providerId="ADAL" clId="{CFAEFA92-8A4B-4120-BCA2-1909F2FDD0EC}" dt="2022-08-19T14:05:10.389" v="66"/>
        <pc:sldMkLst>
          <pc:docMk/>
          <pc:sldMk cId="998687245" sldId="712"/>
        </pc:sldMkLst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41" creationId="{1F955D54-DF5D-443A-8389-D58217D37D2A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42" creationId="{2173641C-CAFA-45A0-9667-AED5CBB1B523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45" creationId="{A0DD1701-CB11-4D3A-BE24-1ABC41492938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46" creationId="{980D1224-43AD-43F4-8FE3-918C1E944F35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47" creationId="{6D0BAF11-A6D2-4128-927C-C827B5CF3D0E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50" creationId="{DFBC024E-03AD-4974-B1B6-83542F12D0FD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52" creationId="{2B261D12-C55D-40AA-8471-79550BA1BE45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53" creationId="{72FFAA58-0831-4280-8F8D-0D701DFD097A}"/>
          </ac:spMkLst>
        </pc:spChg>
        <pc:spChg chg="mod">
          <ac:chgData name="Robles, Daniel" userId="fbcefa1a-afe9-41c1-8f2c-c18cf39f3320" providerId="ADAL" clId="{CFAEFA92-8A4B-4120-BCA2-1909F2FDD0EC}" dt="2022-08-19T14:05:10.389" v="66"/>
          <ac:spMkLst>
            <pc:docMk/>
            <pc:sldMk cId="998687245" sldId="712"/>
            <ac:spMk id="54" creationId="{2FC43DBA-745C-4A6B-9C42-459B4418BEE8}"/>
          </ac:spMkLst>
        </pc:spChg>
        <pc:spChg chg="mod">
          <ac:chgData name="Robles, Daniel" userId="fbcefa1a-afe9-41c1-8f2c-c18cf39f3320" providerId="ADAL" clId="{CFAEFA92-8A4B-4120-BCA2-1909F2FDD0EC}" dt="2022-08-19T13:53:43.480" v="30" actId="1076"/>
          <ac:spMkLst>
            <pc:docMk/>
            <pc:sldMk cId="998687245" sldId="712"/>
            <ac:spMk id="76" creationId="{0F011B76-0EDB-41D6-842F-589B0A495555}"/>
          </ac:spMkLst>
        </pc:spChg>
        <pc:grpChg chg="del">
          <ac:chgData name="Robles, Daniel" userId="fbcefa1a-afe9-41c1-8f2c-c18cf39f3320" providerId="ADAL" clId="{CFAEFA92-8A4B-4120-BCA2-1909F2FDD0EC}" dt="2022-08-19T13:53:33.961" v="29" actId="478"/>
          <ac:grpSpMkLst>
            <pc:docMk/>
            <pc:sldMk cId="998687245" sldId="712"/>
            <ac:grpSpMk id="26" creationId="{F065D92B-71CD-455D-ADB4-9295583D4F5A}"/>
          </ac:grpSpMkLst>
        </pc:grpChg>
        <pc:grpChg chg="add mod">
          <ac:chgData name="Robles, Daniel" userId="fbcefa1a-afe9-41c1-8f2c-c18cf39f3320" providerId="ADAL" clId="{CFAEFA92-8A4B-4120-BCA2-1909F2FDD0EC}" dt="2022-08-19T14:05:10.389" v="66"/>
          <ac:grpSpMkLst>
            <pc:docMk/>
            <pc:sldMk cId="998687245" sldId="712"/>
            <ac:grpSpMk id="40" creationId="{6A3FF7B4-8479-4BD9-96EA-AC9141DEF166}"/>
          </ac:grpSpMkLst>
        </pc:grpChg>
      </pc:sldChg>
      <pc:sldChg chg="delSp modSp new del mod">
        <pc:chgData name="Robles, Daniel" userId="fbcefa1a-afe9-41c1-8f2c-c18cf39f3320" providerId="ADAL" clId="{CFAEFA92-8A4B-4120-BCA2-1909F2FDD0EC}" dt="2022-08-19T13:47:21.739" v="26" actId="47"/>
        <pc:sldMkLst>
          <pc:docMk/>
          <pc:sldMk cId="230078602" sldId="713"/>
        </pc:sldMkLst>
        <pc:spChg chg="del mod">
          <ac:chgData name="Robles, Daniel" userId="fbcefa1a-afe9-41c1-8f2c-c18cf39f3320" providerId="ADAL" clId="{CFAEFA92-8A4B-4120-BCA2-1909F2FDD0EC}" dt="2022-08-19T13:35:55.377" v="25" actId="478"/>
          <ac:spMkLst>
            <pc:docMk/>
            <pc:sldMk cId="230078602" sldId="713"/>
            <ac:spMk id="2" creationId="{40250FC7-F561-4DD2-BE81-0020EC0CF9E9}"/>
          </ac:spMkLst>
        </pc:spChg>
        <pc:spChg chg="del mod">
          <ac:chgData name="Robles, Daniel" userId="fbcefa1a-afe9-41c1-8f2c-c18cf39f3320" providerId="ADAL" clId="{CFAEFA92-8A4B-4120-BCA2-1909F2FDD0EC}" dt="2022-08-19T13:35:53.549" v="23" actId="478"/>
          <ac:spMkLst>
            <pc:docMk/>
            <pc:sldMk cId="230078602" sldId="713"/>
            <ac:spMk id="3" creationId="{DF5935A0-E2B9-442C-82D3-9EAB88847FB6}"/>
          </ac:spMkLst>
        </pc:spChg>
        <pc:spChg chg="del mod">
          <ac:chgData name="Robles, Daniel" userId="fbcefa1a-afe9-41c1-8f2c-c18cf39f3320" providerId="ADAL" clId="{CFAEFA92-8A4B-4120-BCA2-1909F2FDD0EC}" dt="2022-08-19T13:35:52.594" v="21" actId="478"/>
          <ac:spMkLst>
            <pc:docMk/>
            <pc:sldMk cId="230078602" sldId="713"/>
            <ac:spMk id="4" creationId="{7778EE3D-04E3-4D79-9936-E53DD9AB4F82}"/>
          </ac:spMkLst>
        </pc:spChg>
        <pc:spChg chg="del">
          <ac:chgData name="Robles, Daniel" userId="fbcefa1a-afe9-41c1-8f2c-c18cf39f3320" providerId="ADAL" clId="{CFAEFA92-8A4B-4120-BCA2-1909F2FDD0EC}" dt="2022-08-19T13:35:50.546" v="19" actId="478"/>
          <ac:spMkLst>
            <pc:docMk/>
            <pc:sldMk cId="230078602" sldId="713"/>
            <ac:spMk id="5" creationId="{05D043D2-55E2-4EEE-82FB-0F9D1AD2A2AF}"/>
          </ac:spMkLst>
        </pc:spChg>
      </pc:sldChg>
      <pc:sldChg chg="add del">
        <pc:chgData name="Robles, Daniel" userId="fbcefa1a-afe9-41c1-8f2c-c18cf39f3320" providerId="ADAL" clId="{CFAEFA92-8A4B-4120-BCA2-1909F2FDD0EC}" dt="2022-08-19T13:35:44.787" v="17" actId="47"/>
        <pc:sldMkLst>
          <pc:docMk/>
          <pc:sldMk cId="3613245252" sldId="713"/>
        </pc:sldMkLst>
      </pc:sldChg>
    </pc:docChg>
  </pc:docChgLst>
  <pc:docChgLst>
    <pc:chgData name="Robles, Daniel" userId="S::darobles@deloitte.com::fbcefa1a-afe9-41c1-8f2c-c18cf39f3320" providerId="AD" clId="Web-{44008E3E-B9D8-4EC1-A89F-662BE9092C96}"/>
    <pc:docChg chg="modSld">
      <pc:chgData name="Robles, Daniel" userId="S::darobles@deloitte.com::fbcefa1a-afe9-41c1-8f2c-c18cf39f3320" providerId="AD" clId="Web-{44008E3E-B9D8-4EC1-A89F-662BE9092C96}" dt="2022-08-17T22:32:59.350" v="13" actId="14100"/>
      <pc:docMkLst>
        <pc:docMk/>
      </pc:docMkLst>
      <pc:sldChg chg="addSp modSp">
        <pc:chgData name="Robles, Daniel" userId="S::darobles@deloitte.com::fbcefa1a-afe9-41c1-8f2c-c18cf39f3320" providerId="AD" clId="Web-{44008E3E-B9D8-4EC1-A89F-662BE9092C96}" dt="2022-08-17T22:32:59.350" v="13" actId="14100"/>
        <pc:sldMkLst>
          <pc:docMk/>
          <pc:sldMk cId="870859583" sldId="453"/>
        </pc:sldMkLst>
        <pc:spChg chg="mod">
          <ac:chgData name="Robles, Daniel" userId="S::darobles@deloitte.com::fbcefa1a-afe9-41c1-8f2c-c18cf39f3320" providerId="AD" clId="Web-{44008E3E-B9D8-4EC1-A89F-662BE9092C96}" dt="2022-08-17T22:32:59.350" v="13" actId="14100"/>
          <ac:spMkLst>
            <pc:docMk/>
            <pc:sldMk cId="870859583" sldId="453"/>
            <ac:spMk id="2" creationId="{00000000-0000-0000-0000-000000000000}"/>
          </ac:spMkLst>
        </pc:spChg>
        <pc:picChg chg="add mod">
          <ac:chgData name="Robles, Daniel" userId="S::darobles@deloitte.com::fbcefa1a-afe9-41c1-8f2c-c18cf39f3320" providerId="AD" clId="Web-{44008E3E-B9D8-4EC1-A89F-662BE9092C96}" dt="2022-08-17T22:31:49.020" v="1" actId="1076"/>
          <ac:picMkLst>
            <pc:docMk/>
            <pc:sldMk cId="870859583" sldId="453"/>
            <ac:picMk id="3" creationId="{EC9F6F3A-34D9-C9F3-9160-33EEB732263B}"/>
          </ac:picMkLst>
        </pc:picChg>
        <pc:picChg chg="add mod">
          <ac:chgData name="Robles, Daniel" userId="S::darobles@deloitte.com::fbcefa1a-afe9-41c1-8f2c-c18cf39f3320" providerId="AD" clId="Web-{44008E3E-B9D8-4EC1-A89F-662BE9092C96}" dt="2022-08-17T22:32:00.333" v="3" actId="1076"/>
          <ac:picMkLst>
            <pc:docMk/>
            <pc:sldMk cId="870859583" sldId="453"/>
            <ac:picMk id="4" creationId="{0B82BEE0-8024-69A1-37B7-966CF3907717}"/>
          </ac:picMkLst>
        </pc:picChg>
        <pc:picChg chg="add mod">
          <ac:chgData name="Robles, Daniel" userId="S::darobles@deloitte.com::fbcefa1a-afe9-41c1-8f2c-c18cf39f3320" providerId="AD" clId="Web-{44008E3E-B9D8-4EC1-A89F-662BE9092C96}" dt="2022-08-17T22:32:51.068" v="10" actId="1076"/>
          <ac:picMkLst>
            <pc:docMk/>
            <pc:sldMk cId="870859583" sldId="453"/>
            <ac:picMk id="5" creationId="{E565D2D9-E6D9-0BF4-85F1-D9701FB554D7}"/>
          </ac:picMkLst>
        </pc:picChg>
        <pc:picChg chg="add mod">
          <ac:chgData name="Robles, Daniel" userId="S::darobles@deloitte.com::fbcefa1a-afe9-41c1-8f2c-c18cf39f3320" providerId="AD" clId="Web-{44008E3E-B9D8-4EC1-A89F-662BE9092C96}" dt="2022-08-17T22:32:48.537" v="9" actId="1076"/>
          <ac:picMkLst>
            <pc:docMk/>
            <pc:sldMk cId="870859583" sldId="453"/>
            <ac:picMk id="6" creationId="{11CB7161-78C4-1D17-3A6A-05D625C2A50D}"/>
          </ac:picMkLst>
        </pc:picChg>
      </pc:sldChg>
    </pc:docChg>
  </pc:docChgLst>
  <pc:docChgLst>
    <pc:chgData name="Gupta, Maanik" userId="S::maagupta@deloitte.com::df80c2e9-1ba8-47de-bdfe-c5555afca713" providerId="AD" clId="Web-{FE8E6045-216B-4E39-9618-482DA51F3145}"/>
    <pc:docChg chg="modSld">
      <pc:chgData name="Gupta, Maanik" userId="S::maagupta@deloitte.com::df80c2e9-1ba8-47de-bdfe-c5555afca713" providerId="AD" clId="Web-{FE8E6045-216B-4E39-9618-482DA51F3145}" dt="2022-08-18T16:07:25.368" v="382" actId="20577"/>
      <pc:docMkLst>
        <pc:docMk/>
      </pc:docMkLst>
      <pc:sldChg chg="modSp">
        <pc:chgData name="Gupta, Maanik" userId="S::maagupta@deloitte.com::df80c2e9-1ba8-47de-bdfe-c5555afca713" providerId="AD" clId="Web-{FE8E6045-216B-4E39-9618-482DA51F3145}" dt="2022-08-18T16:07:25.368" v="382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FE8E6045-216B-4E39-9618-482DA51F3145}" dt="2022-08-18T16:07:25.368" v="382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Gupta, Maanik" userId="S::maagupta@deloitte.com::df80c2e9-1ba8-47de-bdfe-c5555afca713" providerId="AD" clId="Web-{102D0E5A-483B-42BA-B839-94E3C2BEC0BC}"/>
    <pc:docChg chg="modSld">
      <pc:chgData name="Gupta, Maanik" userId="S::maagupta@deloitte.com::df80c2e9-1ba8-47de-bdfe-c5555afca713" providerId="AD" clId="Web-{102D0E5A-483B-42BA-B839-94E3C2BEC0BC}" dt="2022-08-18T14:27:19.396" v="14" actId="20577"/>
      <pc:docMkLst>
        <pc:docMk/>
      </pc:docMkLst>
      <pc:sldChg chg="modSp">
        <pc:chgData name="Gupta, Maanik" userId="S::maagupta@deloitte.com::df80c2e9-1ba8-47de-bdfe-c5555afca713" providerId="AD" clId="Web-{102D0E5A-483B-42BA-B839-94E3C2BEC0BC}" dt="2022-08-18T14:27:19.396" v="14" actId="20577"/>
        <pc:sldMkLst>
          <pc:docMk/>
          <pc:sldMk cId="2552575641" sldId="344"/>
        </pc:sldMkLst>
        <pc:spChg chg="mod">
          <ac:chgData name="Gupta, Maanik" userId="S::maagupta@deloitte.com::df80c2e9-1ba8-47de-bdfe-c5555afca713" providerId="AD" clId="Web-{102D0E5A-483B-42BA-B839-94E3C2BEC0BC}" dt="2022-08-18T14:27:19.396" v="14" actId="20577"/>
          <ac:spMkLst>
            <pc:docMk/>
            <pc:sldMk cId="2552575641" sldId="344"/>
            <ac:spMk id="5" creationId="{00000000-0000-0000-0000-000000000000}"/>
          </ac:spMkLst>
        </pc:spChg>
      </pc:sldChg>
    </pc:docChg>
  </pc:docChgLst>
  <pc:docChgLst>
    <pc:chgData name="Gupta, Maanik" userId="S::maagupta@deloitte.com::df80c2e9-1ba8-47de-bdfe-c5555afca713" providerId="AD" clId="Web-{529B6A41-830F-408C-8B7A-F42A5BBF3154}"/>
    <pc:docChg chg="modSld">
      <pc:chgData name="Gupta, Maanik" userId="S::maagupta@deloitte.com::df80c2e9-1ba8-47de-bdfe-c5555afca713" providerId="AD" clId="Web-{529B6A41-830F-408C-8B7A-F42A5BBF3154}" dt="2022-08-19T13:36:56.815" v="21" actId="20577"/>
      <pc:docMkLst>
        <pc:docMk/>
      </pc:docMkLst>
      <pc:sldChg chg="modSp">
        <pc:chgData name="Gupta, Maanik" userId="S::maagupta@deloitte.com::df80c2e9-1ba8-47de-bdfe-c5555afca713" providerId="AD" clId="Web-{529B6A41-830F-408C-8B7A-F42A5BBF3154}" dt="2022-08-19T13:36:56.815" v="21" actId="20577"/>
        <pc:sldMkLst>
          <pc:docMk/>
          <pc:sldMk cId="2745247743" sldId="462"/>
        </pc:sldMkLst>
        <pc:spChg chg="mod">
          <ac:chgData name="Gupta, Maanik" userId="S::maagupta@deloitte.com::df80c2e9-1ba8-47de-bdfe-c5555afca713" providerId="AD" clId="Web-{529B6A41-830F-408C-8B7A-F42A5BBF3154}" dt="2022-08-19T13:36:56.815" v="21" actId="20577"/>
          <ac:spMkLst>
            <pc:docMk/>
            <pc:sldMk cId="2745247743" sldId="462"/>
            <ac:spMk id="6771" creationId="{2641377A-8E40-E4C4-8053-6F4BB38AEF14}"/>
          </ac:spMkLst>
        </pc:spChg>
      </pc:sldChg>
    </pc:docChg>
  </pc:docChgLst>
  <pc:docChgLst>
    <pc:chgData name="Robles, Daniel" userId="S::darobles@deloitte.com::fbcefa1a-afe9-41c1-8f2c-c18cf39f3320" providerId="AD" clId="Web-{8A67E4A5-1731-411E-98FC-9DE333B4DAD3}"/>
    <pc:docChg chg="modSld">
      <pc:chgData name="Robles, Daniel" userId="S::darobles@deloitte.com::fbcefa1a-afe9-41c1-8f2c-c18cf39f3320" providerId="AD" clId="Web-{8A67E4A5-1731-411E-98FC-9DE333B4DAD3}" dt="2022-08-17T22:51:35.223" v="13" actId="1076"/>
      <pc:docMkLst>
        <pc:docMk/>
      </pc:docMkLst>
      <pc:sldChg chg="addSp delSp modSp">
        <pc:chgData name="Robles, Daniel" userId="S::darobles@deloitte.com::fbcefa1a-afe9-41c1-8f2c-c18cf39f3320" providerId="AD" clId="Web-{8A67E4A5-1731-411E-98FC-9DE333B4DAD3}" dt="2022-08-17T22:51:35.223" v="13" actId="1076"/>
        <pc:sldMkLst>
          <pc:docMk/>
          <pc:sldMk cId="870859583" sldId="453"/>
        </pc:sldMkLst>
        <pc:picChg chg="add del mod">
          <ac:chgData name="Robles, Daniel" userId="S::darobles@deloitte.com::fbcefa1a-afe9-41c1-8f2c-c18cf39f3320" providerId="AD" clId="Web-{8A67E4A5-1731-411E-98FC-9DE333B4DAD3}" dt="2022-08-17T22:44:30.445" v="2"/>
          <ac:picMkLst>
            <pc:docMk/>
            <pc:sldMk cId="870859583" sldId="453"/>
            <ac:picMk id="3" creationId="{997A481E-8B6F-349A-19B7-C1C4F64F191C}"/>
          </ac:picMkLst>
        </pc:picChg>
        <pc:picChg chg="add mod">
          <ac:chgData name="Robles, Daniel" userId="S::darobles@deloitte.com::fbcefa1a-afe9-41c1-8f2c-c18cf39f3320" providerId="AD" clId="Web-{8A67E4A5-1731-411E-98FC-9DE333B4DAD3}" dt="2022-08-17T22:47:20.060" v="4" actId="1076"/>
          <ac:picMkLst>
            <pc:docMk/>
            <pc:sldMk cId="870859583" sldId="453"/>
            <ac:picMk id="4" creationId="{835F77C5-64C6-7CB0-60FD-B79D83424BD0}"/>
          </ac:picMkLst>
        </pc:picChg>
        <pc:picChg chg="add mod">
          <ac:chgData name="Robles, Daniel" userId="S::darobles@deloitte.com::fbcefa1a-afe9-41c1-8f2c-c18cf39f3320" providerId="AD" clId="Web-{8A67E4A5-1731-411E-98FC-9DE333B4DAD3}" dt="2022-08-17T22:51:35.223" v="13" actId="1076"/>
          <ac:picMkLst>
            <pc:docMk/>
            <pc:sldMk cId="870859583" sldId="453"/>
            <ac:picMk id="5" creationId="{78413095-53FB-8790-496E-0EB782FFF00A}"/>
          </ac:picMkLst>
        </pc:picChg>
        <pc:picChg chg="add mod">
          <ac:chgData name="Robles, Daniel" userId="S::darobles@deloitte.com::fbcefa1a-afe9-41c1-8f2c-c18cf39f3320" providerId="AD" clId="Web-{8A67E4A5-1731-411E-98FC-9DE333B4DAD3}" dt="2022-08-17T22:50:34.378" v="8" actId="1076"/>
          <ac:picMkLst>
            <pc:docMk/>
            <pc:sldMk cId="870859583" sldId="453"/>
            <ac:picMk id="6" creationId="{D48CB8AA-25EE-1172-F7FA-CE7B58AF9F81}"/>
          </ac:picMkLst>
        </pc:picChg>
        <pc:picChg chg="add mod">
          <ac:chgData name="Robles, Daniel" userId="S::darobles@deloitte.com::fbcefa1a-afe9-41c1-8f2c-c18cf39f3320" providerId="AD" clId="Web-{8A67E4A5-1731-411E-98FC-9DE333B4DAD3}" dt="2022-08-17T22:51:21.660" v="12" actId="1076"/>
          <ac:picMkLst>
            <pc:docMk/>
            <pc:sldMk cId="870859583" sldId="453"/>
            <ac:picMk id="7" creationId="{1B230D01-62E8-1B69-A98D-BDF5F9F96CAE}"/>
          </ac:picMkLst>
        </pc:picChg>
      </pc:sldChg>
    </pc:docChg>
  </pc:docChgLst>
  <pc:docChgLst>
    <pc:chgData name="Sandlin, Maya" userId="S::msandlin@deloitte.com::329295a2-1b91-4dc4-8178-61636d7de7a9" providerId="AD" clId="Web-{77619B87-D272-8574-9FEE-2C7028598A4A}"/>
    <pc:docChg chg="addSld delSld modSld sldOrd">
      <pc:chgData name="Sandlin, Maya" userId="S::msandlin@deloitte.com::329295a2-1b91-4dc4-8178-61636d7de7a9" providerId="AD" clId="Web-{77619B87-D272-8574-9FEE-2C7028598A4A}" dt="2022-08-18T18:18:11.704" v="1618"/>
      <pc:docMkLst>
        <pc:docMk/>
      </pc:docMkLst>
      <pc:sldChg chg="modSp del">
        <pc:chgData name="Sandlin, Maya" userId="S::msandlin@deloitte.com::329295a2-1b91-4dc4-8178-61636d7de7a9" providerId="AD" clId="Web-{77619B87-D272-8574-9FEE-2C7028598A4A}" dt="2022-08-18T16:12:03.783" v="277"/>
        <pc:sldMkLst>
          <pc:docMk/>
          <pc:sldMk cId="3554107295" sldId="269"/>
        </pc:sldMkLst>
        <pc:spChg chg="mod">
          <ac:chgData name="Sandlin, Maya" userId="S::msandlin@deloitte.com::329295a2-1b91-4dc4-8178-61636d7de7a9" providerId="AD" clId="Web-{77619B87-D272-8574-9FEE-2C7028598A4A}" dt="2022-08-18T16:00:05.203" v="163" actId="1076"/>
          <ac:spMkLst>
            <pc:docMk/>
            <pc:sldMk cId="3554107295" sldId="269"/>
            <ac:spMk id="2" creationId="{00000000-0000-0000-0000-000000000000}"/>
          </ac:spMkLst>
        </pc:spChg>
        <pc:spChg chg="mod">
          <ac:chgData name="Sandlin, Maya" userId="S::msandlin@deloitte.com::329295a2-1b91-4dc4-8178-61636d7de7a9" providerId="AD" clId="Web-{77619B87-D272-8574-9FEE-2C7028598A4A}" dt="2022-08-18T15:59:46.671" v="159" actId="20577"/>
          <ac:spMkLst>
            <pc:docMk/>
            <pc:sldMk cId="3554107295" sldId="269"/>
            <ac:spMk id="9" creationId="{00000000-0000-0000-0000-000000000000}"/>
          </ac:spMkLst>
        </pc:spChg>
      </pc:sldChg>
      <pc:sldChg chg="modSp del">
        <pc:chgData name="Sandlin, Maya" userId="S::msandlin@deloitte.com::329295a2-1b91-4dc4-8178-61636d7de7a9" providerId="AD" clId="Web-{77619B87-D272-8574-9FEE-2C7028598A4A}" dt="2022-08-18T18:18:11.704" v="1618"/>
        <pc:sldMkLst>
          <pc:docMk/>
          <pc:sldMk cId="4255256458" sldId="270"/>
        </pc:sldMkLst>
        <pc:spChg chg="mod">
          <ac:chgData name="Sandlin, Maya" userId="S::msandlin@deloitte.com::329295a2-1b91-4dc4-8178-61636d7de7a9" providerId="AD" clId="Web-{77619B87-D272-8574-9FEE-2C7028598A4A}" dt="2022-08-18T15:56:51.870" v="73" actId="20577"/>
          <ac:spMkLst>
            <pc:docMk/>
            <pc:sldMk cId="4255256458" sldId="270"/>
            <ac:spMk id="2" creationId="{00000000-0000-0000-0000-000000000000}"/>
          </ac:spMkLst>
        </pc:spChg>
      </pc:sldChg>
      <pc:sldChg chg="del">
        <pc:chgData name="Sandlin, Maya" userId="S::msandlin@deloitte.com::329295a2-1b91-4dc4-8178-61636d7de7a9" providerId="AD" clId="Web-{77619B87-D272-8574-9FEE-2C7028598A4A}" dt="2022-08-18T15:53:56.084" v="29"/>
        <pc:sldMkLst>
          <pc:docMk/>
          <pc:sldMk cId="1604004944" sldId="272"/>
        </pc:sldMkLst>
      </pc:sldChg>
      <pc:sldChg chg="modSp del">
        <pc:chgData name="Sandlin, Maya" userId="S::msandlin@deloitte.com::329295a2-1b91-4dc4-8178-61636d7de7a9" providerId="AD" clId="Web-{77619B87-D272-8574-9FEE-2C7028598A4A}" dt="2022-08-18T18:16:52.170" v="1614"/>
        <pc:sldMkLst>
          <pc:docMk/>
          <pc:sldMk cId="4231841769" sldId="347"/>
        </pc:sldMkLst>
        <pc:picChg chg="mod">
          <ac:chgData name="Sandlin, Maya" userId="S::msandlin@deloitte.com::329295a2-1b91-4dc4-8178-61636d7de7a9" providerId="AD" clId="Web-{77619B87-D272-8574-9FEE-2C7028598A4A}" dt="2022-08-18T18:00:50.059" v="1613" actId="14100"/>
          <ac:picMkLst>
            <pc:docMk/>
            <pc:sldMk cId="4231841769" sldId="347"/>
            <ac:picMk id="5" creationId="{5E5A63EF-CE2B-2134-9150-D0D612282979}"/>
          </ac:picMkLst>
        </pc:picChg>
      </pc:sldChg>
      <pc:sldChg chg="del">
        <pc:chgData name="Sandlin, Maya" userId="S::msandlin@deloitte.com::329295a2-1b91-4dc4-8178-61636d7de7a9" providerId="AD" clId="Web-{77619B87-D272-8574-9FEE-2C7028598A4A}" dt="2022-08-18T18:17:40.828" v="1617"/>
        <pc:sldMkLst>
          <pc:docMk/>
          <pc:sldMk cId="2718855235" sldId="351"/>
        </pc:sldMkLst>
      </pc:sldChg>
      <pc:sldChg chg="del">
        <pc:chgData name="Sandlin, Maya" userId="S::msandlin@deloitte.com::329295a2-1b91-4dc4-8178-61636d7de7a9" providerId="AD" clId="Web-{77619B87-D272-8574-9FEE-2C7028598A4A}" dt="2022-08-18T15:54:17.663" v="35"/>
        <pc:sldMkLst>
          <pc:docMk/>
          <pc:sldMk cId="2201514029" sldId="354"/>
        </pc:sldMkLst>
      </pc:sldChg>
      <pc:sldChg chg="del">
        <pc:chgData name="Sandlin, Maya" userId="S::msandlin@deloitte.com::329295a2-1b91-4dc4-8178-61636d7de7a9" providerId="AD" clId="Web-{77619B87-D272-8574-9FEE-2C7028598A4A}" dt="2022-08-18T15:54:17.647" v="33"/>
        <pc:sldMkLst>
          <pc:docMk/>
          <pc:sldMk cId="46982940" sldId="355"/>
        </pc:sldMkLst>
      </pc:sldChg>
      <pc:sldChg chg="del">
        <pc:chgData name="Sandlin, Maya" userId="S::msandlin@deloitte.com::329295a2-1b91-4dc4-8178-61636d7de7a9" providerId="AD" clId="Web-{77619B87-D272-8574-9FEE-2C7028598A4A}" dt="2022-08-18T15:54:23.991" v="36"/>
        <pc:sldMkLst>
          <pc:docMk/>
          <pc:sldMk cId="2455205156" sldId="356"/>
        </pc:sldMkLst>
      </pc:sldChg>
      <pc:sldChg chg="del">
        <pc:chgData name="Sandlin, Maya" userId="S::msandlin@deloitte.com::329295a2-1b91-4dc4-8178-61636d7de7a9" providerId="AD" clId="Web-{77619B87-D272-8574-9FEE-2C7028598A4A}" dt="2022-08-18T15:54:27.632" v="43"/>
        <pc:sldMkLst>
          <pc:docMk/>
          <pc:sldMk cId="1483206882" sldId="357"/>
        </pc:sldMkLst>
      </pc:sldChg>
      <pc:sldChg chg="del">
        <pc:chgData name="Sandlin, Maya" userId="S::msandlin@deloitte.com::329295a2-1b91-4dc4-8178-61636d7de7a9" providerId="AD" clId="Web-{77619B87-D272-8574-9FEE-2C7028598A4A}" dt="2022-08-18T15:54:27.632" v="42"/>
        <pc:sldMkLst>
          <pc:docMk/>
          <pc:sldMk cId="2905808825" sldId="358"/>
        </pc:sldMkLst>
      </pc:sldChg>
      <pc:sldChg chg="del ord">
        <pc:chgData name="Sandlin, Maya" userId="S::msandlin@deloitte.com::329295a2-1b91-4dc4-8178-61636d7de7a9" providerId="AD" clId="Web-{77619B87-D272-8574-9FEE-2C7028598A4A}" dt="2022-08-18T15:54:33.288" v="47"/>
        <pc:sldMkLst>
          <pc:docMk/>
          <pc:sldMk cId="3491360553" sldId="359"/>
        </pc:sldMkLst>
      </pc:sldChg>
      <pc:sldChg chg="del">
        <pc:chgData name="Sandlin, Maya" userId="S::msandlin@deloitte.com::329295a2-1b91-4dc4-8178-61636d7de7a9" providerId="AD" clId="Web-{77619B87-D272-8574-9FEE-2C7028598A4A}" dt="2022-08-18T15:54:27.616" v="41"/>
        <pc:sldMkLst>
          <pc:docMk/>
          <pc:sldMk cId="853970033" sldId="360"/>
        </pc:sldMkLst>
      </pc:sldChg>
      <pc:sldChg chg="del">
        <pc:chgData name="Sandlin, Maya" userId="S::msandlin@deloitte.com::329295a2-1b91-4dc4-8178-61636d7de7a9" providerId="AD" clId="Web-{77619B87-D272-8574-9FEE-2C7028598A4A}" dt="2022-08-18T15:54:27.600" v="40"/>
        <pc:sldMkLst>
          <pc:docMk/>
          <pc:sldMk cId="3897328550" sldId="361"/>
        </pc:sldMkLst>
      </pc:sldChg>
      <pc:sldChg chg="del">
        <pc:chgData name="Sandlin, Maya" userId="S::msandlin@deloitte.com::329295a2-1b91-4dc4-8178-61636d7de7a9" providerId="AD" clId="Web-{77619B87-D272-8574-9FEE-2C7028598A4A}" dt="2022-08-18T15:54:33.288" v="46"/>
        <pc:sldMkLst>
          <pc:docMk/>
          <pc:sldMk cId="517282277" sldId="362"/>
        </pc:sldMkLst>
      </pc:sldChg>
      <pc:sldChg chg="del">
        <pc:chgData name="Sandlin, Maya" userId="S::msandlin@deloitte.com::329295a2-1b91-4dc4-8178-61636d7de7a9" providerId="AD" clId="Web-{77619B87-D272-8574-9FEE-2C7028598A4A}" dt="2022-08-18T15:54:33.288" v="45"/>
        <pc:sldMkLst>
          <pc:docMk/>
          <pc:sldMk cId="1105876625" sldId="363"/>
        </pc:sldMkLst>
      </pc:sldChg>
      <pc:sldChg chg="del">
        <pc:chgData name="Sandlin, Maya" userId="S::msandlin@deloitte.com::329295a2-1b91-4dc4-8178-61636d7de7a9" providerId="AD" clId="Web-{77619B87-D272-8574-9FEE-2C7028598A4A}" dt="2022-08-18T15:54:33.272" v="44"/>
        <pc:sldMkLst>
          <pc:docMk/>
          <pc:sldMk cId="2333130088" sldId="364"/>
        </pc:sldMkLst>
      </pc:sldChg>
      <pc:sldChg chg="del">
        <pc:chgData name="Sandlin, Maya" userId="S::msandlin@deloitte.com::329295a2-1b91-4dc4-8178-61636d7de7a9" providerId="AD" clId="Web-{77619B87-D272-8574-9FEE-2C7028598A4A}" dt="2022-08-18T15:54:37.944" v="51"/>
        <pc:sldMkLst>
          <pc:docMk/>
          <pc:sldMk cId="1824906246" sldId="365"/>
        </pc:sldMkLst>
      </pc:sldChg>
      <pc:sldChg chg="del">
        <pc:chgData name="Sandlin, Maya" userId="S::msandlin@deloitte.com::329295a2-1b91-4dc4-8178-61636d7de7a9" providerId="AD" clId="Web-{77619B87-D272-8574-9FEE-2C7028598A4A}" dt="2022-08-18T15:54:37.944" v="50"/>
        <pc:sldMkLst>
          <pc:docMk/>
          <pc:sldMk cId="551112761" sldId="366"/>
        </pc:sldMkLst>
      </pc:sldChg>
      <pc:sldChg chg="del">
        <pc:chgData name="Sandlin, Maya" userId="S::msandlin@deloitte.com::329295a2-1b91-4dc4-8178-61636d7de7a9" providerId="AD" clId="Web-{77619B87-D272-8574-9FEE-2C7028598A4A}" dt="2022-08-18T15:54:37.929" v="49"/>
        <pc:sldMkLst>
          <pc:docMk/>
          <pc:sldMk cId="4246702395" sldId="368"/>
        </pc:sldMkLst>
      </pc:sldChg>
      <pc:sldChg chg="del">
        <pc:chgData name="Sandlin, Maya" userId="S::msandlin@deloitte.com::329295a2-1b91-4dc4-8178-61636d7de7a9" providerId="AD" clId="Web-{77619B87-D272-8574-9FEE-2C7028598A4A}" dt="2022-08-18T15:54:37.929" v="48"/>
        <pc:sldMkLst>
          <pc:docMk/>
          <pc:sldMk cId="1345652904" sldId="370"/>
        </pc:sldMkLst>
      </pc:sldChg>
      <pc:sldChg chg="del">
        <pc:chgData name="Sandlin, Maya" userId="S::msandlin@deloitte.com::329295a2-1b91-4dc4-8178-61636d7de7a9" providerId="AD" clId="Web-{77619B87-D272-8574-9FEE-2C7028598A4A}" dt="2022-08-18T15:54:42.757" v="55"/>
        <pc:sldMkLst>
          <pc:docMk/>
          <pc:sldMk cId="3195077663" sldId="371"/>
        </pc:sldMkLst>
      </pc:sldChg>
      <pc:sldChg chg="del">
        <pc:chgData name="Sandlin, Maya" userId="S::msandlin@deloitte.com::329295a2-1b91-4dc4-8178-61636d7de7a9" providerId="AD" clId="Web-{77619B87-D272-8574-9FEE-2C7028598A4A}" dt="2022-08-18T15:54:42.757" v="54"/>
        <pc:sldMkLst>
          <pc:docMk/>
          <pc:sldMk cId="3418665187" sldId="372"/>
        </pc:sldMkLst>
      </pc:sldChg>
      <pc:sldChg chg="del">
        <pc:chgData name="Sandlin, Maya" userId="S::msandlin@deloitte.com::329295a2-1b91-4dc4-8178-61636d7de7a9" providerId="AD" clId="Web-{77619B87-D272-8574-9FEE-2C7028598A4A}" dt="2022-08-18T15:54:42.757" v="53"/>
        <pc:sldMkLst>
          <pc:docMk/>
          <pc:sldMk cId="3887647588" sldId="373"/>
        </pc:sldMkLst>
      </pc:sldChg>
      <pc:sldChg chg="del">
        <pc:chgData name="Sandlin, Maya" userId="S::msandlin@deloitte.com::329295a2-1b91-4dc4-8178-61636d7de7a9" providerId="AD" clId="Web-{77619B87-D272-8574-9FEE-2C7028598A4A}" dt="2022-08-18T15:54:42.741" v="52"/>
        <pc:sldMkLst>
          <pc:docMk/>
          <pc:sldMk cId="1587456036" sldId="374"/>
        </pc:sldMkLst>
      </pc:sldChg>
      <pc:sldChg chg="del">
        <pc:chgData name="Sandlin, Maya" userId="S::msandlin@deloitte.com::329295a2-1b91-4dc4-8178-61636d7de7a9" providerId="AD" clId="Web-{77619B87-D272-8574-9FEE-2C7028598A4A}" dt="2022-08-18T15:54:48.398" v="59"/>
        <pc:sldMkLst>
          <pc:docMk/>
          <pc:sldMk cId="1654944373" sldId="375"/>
        </pc:sldMkLst>
      </pc:sldChg>
      <pc:sldChg chg="del">
        <pc:chgData name="Sandlin, Maya" userId="S::msandlin@deloitte.com::329295a2-1b91-4dc4-8178-61636d7de7a9" providerId="AD" clId="Web-{77619B87-D272-8574-9FEE-2C7028598A4A}" dt="2022-08-18T15:54:48.382" v="58"/>
        <pc:sldMkLst>
          <pc:docMk/>
          <pc:sldMk cId="1391675115" sldId="376"/>
        </pc:sldMkLst>
      </pc:sldChg>
      <pc:sldChg chg="del">
        <pc:chgData name="Sandlin, Maya" userId="S::msandlin@deloitte.com::329295a2-1b91-4dc4-8178-61636d7de7a9" providerId="AD" clId="Web-{77619B87-D272-8574-9FEE-2C7028598A4A}" dt="2022-08-18T15:54:48.382" v="57"/>
        <pc:sldMkLst>
          <pc:docMk/>
          <pc:sldMk cId="153350407" sldId="377"/>
        </pc:sldMkLst>
      </pc:sldChg>
      <pc:sldChg chg="del">
        <pc:chgData name="Sandlin, Maya" userId="S::msandlin@deloitte.com::329295a2-1b91-4dc4-8178-61636d7de7a9" providerId="AD" clId="Web-{77619B87-D272-8574-9FEE-2C7028598A4A}" dt="2022-08-18T15:54:48.382" v="56"/>
        <pc:sldMkLst>
          <pc:docMk/>
          <pc:sldMk cId="3792841793" sldId="378"/>
        </pc:sldMkLst>
      </pc:sldChg>
      <pc:sldChg chg="del">
        <pc:chgData name="Sandlin, Maya" userId="S::msandlin@deloitte.com::329295a2-1b91-4dc4-8178-61636d7de7a9" providerId="AD" clId="Web-{77619B87-D272-8574-9FEE-2C7028598A4A}" dt="2022-08-18T15:54:52.976" v="63"/>
        <pc:sldMkLst>
          <pc:docMk/>
          <pc:sldMk cId="3657818877" sldId="379"/>
        </pc:sldMkLst>
      </pc:sldChg>
      <pc:sldChg chg="del">
        <pc:chgData name="Sandlin, Maya" userId="S::msandlin@deloitte.com::329295a2-1b91-4dc4-8178-61636d7de7a9" providerId="AD" clId="Web-{77619B87-D272-8574-9FEE-2C7028598A4A}" dt="2022-08-18T15:54:52.976" v="62"/>
        <pc:sldMkLst>
          <pc:docMk/>
          <pc:sldMk cId="703598829" sldId="380"/>
        </pc:sldMkLst>
      </pc:sldChg>
      <pc:sldChg chg="del">
        <pc:chgData name="Sandlin, Maya" userId="S::msandlin@deloitte.com::329295a2-1b91-4dc4-8178-61636d7de7a9" providerId="AD" clId="Web-{77619B87-D272-8574-9FEE-2C7028598A4A}" dt="2022-08-18T15:54:52.976" v="61"/>
        <pc:sldMkLst>
          <pc:docMk/>
          <pc:sldMk cId="855736404" sldId="381"/>
        </pc:sldMkLst>
      </pc:sldChg>
      <pc:sldChg chg="del">
        <pc:chgData name="Sandlin, Maya" userId="S::msandlin@deloitte.com::329295a2-1b91-4dc4-8178-61636d7de7a9" providerId="AD" clId="Web-{77619B87-D272-8574-9FEE-2C7028598A4A}" dt="2022-08-18T15:54:52.976" v="60"/>
        <pc:sldMkLst>
          <pc:docMk/>
          <pc:sldMk cId="4033685715" sldId="382"/>
        </pc:sldMkLst>
      </pc:sldChg>
      <pc:sldChg chg="del">
        <pc:chgData name="Sandlin, Maya" userId="S::msandlin@deloitte.com::329295a2-1b91-4dc4-8178-61636d7de7a9" providerId="AD" clId="Web-{77619B87-D272-8574-9FEE-2C7028598A4A}" dt="2022-08-18T15:54:59.867" v="67"/>
        <pc:sldMkLst>
          <pc:docMk/>
          <pc:sldMk cId="3561936690" sldId="384"/>
        </pc:sldMkLst>
      </pc:sldChg>
      <pc:sldChg chg="del">
        <pc:chgData name="Sandlin, Maya" userId="S::msandlin@deloitte.com::329295a2-1b91-4dc4-8178-61636d7de7a9" providerId="AD" clId="Web-{77619B87-D272-8574-9FEE-2C7028598A4A}" dt="2022-08-18T15:54:59.867" v="66"/>
        <pc:sldMkLst>
          <pc:docMk/>
          <pc:sldMk cId="2335836946" sldId="385"/>
        </pc:sldMkLst>
      </pc:sldChg>
      <pc:sldChg chg="del">
        <pc:chgData name="Sandlin, Maya" userId="S::msandlin@deloitte.com::329295a2-1b91-4dc4-8178-61636d7de7a9" providerId="AD" clId="Web-{77619B87-D272-8574-9FEE-2C7028598A4A}" dt="2022-08-18T15:54:02.662" v="31"/>
        <pc:sldMkLst>
          <pc:docMk/>
          <pc:sldMk cId="1721431480" sldId="387"/>
        </pc:sldMkLst>
      </pc:sldChg>
      <pc:sldChg chg="del">
        <pc:chgData name="Sandlin, Maya" userId="S::msandlin@deloitte.com::329295a2-1b91-4dc4-8178-61636d7de7a9" providerId="AD" clId="Web-{77619B87-D272-8574-9FEE-2C7028598A4A}" dt="2022-08-18T16:27:16.415" v="1602"/>
        <pc:sldMkLst>
          <pc:docMk/>
          <pc:sldMk cId="2241692144" sldId="389"/>
        </pc:sldMkLst>
      </pc:sldChg>
      <pc:sldChg chg="del">
        <pc:chgData name="Sandlin, Maya" userId="S::msandlin@deloitte.com::329295a2-1b91-4dc4-8178-61636d7de7a9" providerId="AD" clId="Web-{77619B87-D272-8574-9FEE-2C7028598A4A}" dt="2022-08-18T15:55:17.695" v="68"/>
        <pc:sldMkLst>
          <pc:docMk/>
          <pc:sldMk cId="2062382472" sldId="392"/>
        </pc:sldMkLst>
      </pc:sldChg>
      <pc:sldChg chg="del">
        <pc:chgData name="Sandlin, Maya" userId="S::msandlin@deloitte.com::329295a2-1b91-4dc4-8178-61636d7de7a9" providerId="AD" clId="Web-{77619B87-D272-8574-9FEE-2C7028598A4A}" dt="2022-08-18T15:55:22.008" v="70"/>
        <pc:sldMkLst>
          <pc:docMk/>
          <pc:sldMk cId="2394809977" sldId="394"/>
        </pc:sldMkLst>
      </pc:sldChg>
      <pc:sldChg chg="del">
        <pc:chgData name="Sandlin, Maya" userId="S::msandlin@deloitte.com::329295a2-1b91-4dc4-8178-61636d7de7a9" providerId="AD" clId="Web-{77619B87-D272-8574-9FEE-2C7028598A4A}" dt="2022-08-18T15:54:17.647" v="34"/>
        <pc:sldMkLst>
          <pc:docMk/>
          <pc:sldMk cId="3456344026" sldId="407"/>
        </pc:sldMkLst>
      </pc:sldChg>
      <pc:sldChg chg="del">
        <pc:chgData name="Sandlin, Maya" userId="S::msandlin@deloitte.com::329295a2-1b91-4dc4-8178-61636d7de7a9" providerId="AD" clId="Web-{77619B87-D272-8574-9FEE-2C7028598A4A}" dt="2022-08-18T15:54:17.647" v="32"/>
        <pc:sldMkLst>
          <pc:docMk/>
          <pc:sldMk cId="1989036880" sldId="409"/>
        </pc:sldMkLst>
      </pc:sldChg>
      <pc:sldChg chg="del">
        <pc:chgData name="Sandlin, Maya" userId="S::msandlin@deloitte.com::329295a2-1b91-4dc4-8178-61636d7de7a9" providerId="AD" clId="Web-{77619B87-D272-8574-9FEE-2C7028598A4A}" dt="2022-08-18T15:54:24.007" v="37"/>
        <pc:sldMkLst>
          <pc:docMk/>
          <pc:sldMk cId="2365913993" sldId="410"/>
        </pc:sldMkLst>
      </pc:sldChg>
      <pc:sldChg chg="del">
        <pc:chgData name="Sandlin, Maya" userId="S::msandlin@deloitte.com::329295a2-1b91-4dc4-8178-61636d7de7a9" providerId="AD" clId="Web-{77619B87-D272-8574-9FEE-2C7028598A4A}" dt="2022-08-18T15:54:24.007" v="38"/>
        <pc:sldMkLst>
          <pc:docMk/>
          <pc:sldMk cId="1123295680" sldId="411"/>
        </pc:sldMkLst>
      </pc:sldChg>
      <pc:sldChg chg="del">
        <pc:chgData name="Sandlin, Maya" userId="S::msandlin@deloitte.com::329295a2-1b91-4dc4-8178-61636d7de7a9" providerId="AD" clId="Web-{77619B87-D272-8574-9FEE-2C7028598A4A}" dt="2022-08-18T15:54:24.007" v="39"/>
        <pc:sldMkLst>
          <pc:docMk/>
          <pc:sldMk cId="1980642009" sldId="412"/>
        </pc:sldMkLst>
      </pc:sldChg>
      <pc:sldChg chg="del">
        <pc:chgData name="Sandlin, Maya" userId="S::msandlin@deloitte.com::329295a2-1b91-4dc4-8178-61636d7de7a9" providerId="AD" clId="Web-{77619B87-D272-8574-9FEE-2C7028598A4A}" dt="2022-08-18T15:53:49.115" v="28"/>
        <pc:sldMkLst>
          <pc:docMk/>
          <pc:sldMk cId="889210208" sldId="440"/>
        </pc:sldMkLst>
      </pc:sldChg>
      <pc:sldChg chg="del">
        <pc:chgData name="Sandlin, Maya" userId="S::msandlin@deloitte.com::329295a2-1b91-4dc4-8178-61636d7de7a9" providerId="AD" clId="Web-{77619B87-D272-8574-9FEE-2C7028598A4A}" dt="2022-08-18T15:53:59.131" v="30"/>
        <pc:sldMkLst>
          <pc:docMk/>
          <pc:sldMk cId="3092620570" sldId="441"/>
        </pc:sldMkLst>
      </pc:sldChg>
      <pc:sldChg chg="del">
        <pc:chgData name="Sandlin, Maya" userId="S::msandlin@deloitte.com::329295a2-1b91-4dc4-8178-61636d7de7a9" providerId="AD" clId="Web-{77619B87-D272-8574-9FEE-2C7028598A4A}" dt="2022-08-18T15:54:59.867" v="64"/>
        <pc:sldMkLst>
          <pc:docMk/>
          <pc:sldMk cId="1141312294" sldId="442"/>
        </pc:sldMkLst>
      </pc:sldChg>
      <pc:sldChg chg="del">
        <pc:chgData name="Sandlin, Maya" userId="S::msandlin@deloitte.com::329295a2-1b91-4dc4-8178-61636d7de7a9" providerId="AD" clId="Web-{77619B87-D272-8574-9FEE-2C7028598A4A}" dt="2022-08-18T16:27:13.962" v="1601"/>
        <pc:sldMkLst>
          <pc:docMk/>
          <pc:sldMk cId="3653565097" sldId="443"/>
        </pc:sldMkLst>
      </pc:sldChg>
      <pc:sldChg chg="del">
        <pc:chgData name="Sandlin, Maya" userId="S::msandlin@deloitte.com::329295a2-1b91-4dc4-8178-61636d7de7a9" providerId="AD" clId="Web-{77619B87-D272-8574-9FEE-2C7028598A4A}" dt="2022-08-18T15:55:21.070" v="69"/>
        <pc:sldMkLst>
          <pc:docMk/>
          <pc:sldMk cId="1171625525" sldId="444"/>
        </pc:sldMkLst>
      </pc:sldChg>
      <pc:sldChg chg="del">
        <pc:chgData name="Sandlin, Maya" userId="S::msandlin@deloitte.com::329295a2-1b91-4dc4-8178-61636d7de7a9" providerId="AD" clId="Web-{77619B87-D272-8574-9FEE-2C7028598A4A}" dt="2022-08-18T15:53:43.740" v="27"/>
        <pc:sldMkLst>
          <pc:docMk/>
          <pc:sldMk cId="3293253968" sldId="445"/>
        </pc:sldMkLst>
      </pc:sldChg>
      <pc:sldChg chg="del">
        <pc:chgData name="Sandlin, Maya" userId="S::msandlin@deloitte.com::329295a2-1b91-4dc4-8178-61636d7de7a9" providerId="AD" clId="Web-{77619B87-D272-8574-9FEE-2C7028598A4A}" dt="2022-08-18T16:27:11.603" v="1600"/>
        <pc:sldMkLst>
          <pc:docMk/>
          <pc:sldMk cId="3866581742" sldId="446"/>
        </pc:sldMkLst>
      </pc:sldChg>
      <pc:sldChg chg="del">
        <pc:chgData name="Sandlin, Maya" userId="S::msandlin@deloitte.com::329295a2-1b91-4dc4-8178-61636d7de7a9" providerId="AD" clId="Web-{77619B87-D272-8574-9FEE-2C7028598A4A}" dt="2022-08-18T15:54:59.867" v="65"/>
        <pc:sldMkLst>
          <pc:docMk/>
          <pc:sldMk cId="2869642060" sldId="447"/>
        </pc:sldMkLst>
      </pc:sldChg>
      <pc:sldChg chg="del">
        <pc:chgData name="Sandlin, Maya" userId="S::msandlin@deloitte.com::329295a2-1b91-4dc4-8178-61636d7de7a9" providerId="AD" clId="Web-{77619B87-D272-8574-9FEE-2C7028598A4A}" dt="2022-08-18T15:55:22.992" v="71"/>
        <pc:sldMkLst>
          <pc:docMk/>
          <pc:sldMk cId="1508842044" sldId="449"/>
        </pc:sldMkLst>
      </pc:sldChg>
      <pc:sldChg chg="addSp modSp">
        <pc:chgData name="Sandlin, Maya" userId="S::msandlin@deloitte.com::329295a2-1b91-4dc4-8178-61636d7de7a9" providerId="AD" clId="Web-{77619B87-D272-8574-9FEE-2C7028598A4A}" dt="2022-08-18T16:27:25.181" v="1603" actId="1076"/>
        <pc:sldMkLst>
          <pc:docMk/>
          <pc:sldMk cId="1825728422" sldId="450"/>
        </pc:sldMkLst>
        <pc:spChg chg="mod">
          <ac:chgData name="Sandlin, Maya" userId="S::msandlin@deloitte.com::329295a2-1b91-4dc4-8178-61636d7de7a9" providerId="AD" clId="Web-{77619B87-D272-8574-9FEE-2C7028598A4A}" dt="2022-08-18T16:27:25.181" v="1603" actId="1076"/>
          <ac:spMkLst>
            <pc:docMk/>
            <pc:sldMk cId="1825728422" sldId="450"/>
            <ac:spMk id="2" creationId="{00000000-0000-0000-0000-000000000000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5:26.475" v="1560" actId="20577"/>
          <ac:spMkLst>
            <pc:docMk/>
            <pc:sldMk cId="1825728422" sldId="450"/>
            <ac:spMk id="3" creationId="{3D8BBCAE-ED3D-1F0D-1F56-BACF5B73296E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5:53.616" v="1574" actId="1076"/>
          <ac:spMkLst>
            <pc:docMk/>
            <pc:sldMk cId="1825728422" sldId="450"/>
            <ac:spMk id="4" creationId="{CD72E586-9B55-63D2-3AD3-F7629808A31E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6:20.398" v="1598" actId="1076"/>
          <ac:spMkLst>
            <pc:docMk/>
            <pc:sldMk cId="1825728422" sldId="450"/>
            <ac:spMk id="8" creationId="{30BEA0AA-E241-DB74-A7A1-82C656387506}"/>
          </ac:spMkLst>
        </pc:spChg>
      </pc:sldChg>
      <pc:sldChg chg="del">
        <pc:chgData name="Sandlin, Maya" userId="S::msandlin@deloitte.com::329295a2-1b91-4dc4-8178-61636d7de7a9" providerId="AD" clId="Web-{77619B87-D272-8574-9FEE-2C7028598A4A}" dt="2022-08-18T16:26:46.493" v="1599"/>
        <pc:sldMkLst>
          <pc:docMk/>
          <pc:sldMk cId="962843798" sldId="456"/>
        </pc:sldMkLst>
      </pc:sldChg>
      <pc:sldChg chg="modSp">
        <pc:chgData name="Sandlin, Maya" userId="S::msandlin@deloitte.com::329295a2-1b91-4dc4-8178-61636d7de7a9" providerId="AD" clId="Web-{77619B87-D272-8574-9FEE-2C7028598A4A}" dt="2022-08-18T15:08:51.103" v="25" actId="20577"/>
        <pc:sldMkLst>
          <pc:docMk/>
          <pc:sldMk cId="1223724206" sldId="458"/>
        </pc:sldMkLst>
        <pc:spChg chg="mod">
          <ac:chgData name="Sandlin, Maya" userId="S::msandlin@deloitte.com::329295a2-1b91-4dc4-8178-61636d7de7a9" providerId="AD" clId="Web-{77619B87-D272-8574-9FEE-2C7028598A4A}" dt="2022-08-18T15:08:51.103" v="25" actId="20577"/>
          <ac:spMkLst>
            <pc:docMk/>
            <pc:sldMk cId="1223724206" sldId="458"/>
            <ac:spMk id="4" creationId="{A38FEBA9-4E0A-0A13-EB67-B0421CD5ECC9}"/>
          </ac:spMkLst>
        </pc:spChg>
        <pc:spChg chg="mod">
          <ac:chgData name="Sandlin, Maya" userId="S::msandlin@deloitte.com::329295a2-1b91-4dc4-8178-61636d7de7a9" providerId="AD" clId="Web-{77619B87-D272-8574-9FEE-2C7028598A4A}" dt="2022-08-18T14:40:28.001" v="2" actId="20577"/>
          <ac:spMkLst>
            <pc:docMk/>
            <pc:sldMk cId="1223724206" sldId="458"/>
            <ac:spMk id="11" creationId="{8DDCC4C9-8B88-EE17-0B10-A724BE1A2759}"/>
          </ac:spMkLst>
        </pc:spChg>
      </pc:sldChg>
      <pc:sldChg chg="del">
        <pc:chgData name="Sandlin, Maya" userId="S::msandlin@deloitte.com::329295a2-1b91-4dc4-8178-61636d7de7a9" providerId="AD" clId="Web-{77619B87-D272-8574-9FEE-2C7028598A4A}" dt="2022-08-18T16:29:02.309" v="1604"/>
        <pc:sldMkLst>
          <pc:docMk/>
          <pc:sldMk cId="50797011" sldId="460"/>
        </pc:sldMkLst>
      </pc:sldChg>
      <pc:sldChg chg="addSp delSp modSp new mod modClrScheme chgLayout">
        <pc:chgData name="Sandlin, Maya" userId="S::msandlin@deloitte.com::329295a2-1b91-4dc4-8178-61636d7de7a9" providerId="AD" clId="Web-{77619B87-D272-8574-9FEE-2C7028598A4A}" dt="2022-08-18T16:24:28.942" v="1516" actId="20577"/>
        <pc:sldMkLst>
          <pc:docMk/>
          <pc:sldMk cId="2745247743" sldId="462"/>
        </pc:sldMkLst>
        <pc:spChg chg="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2" creationId="{7A7CEFC5-BCD3-9654-CB68-00C1C3275327}"/>
          </ac:spMkLst>
        </pc:spChg>
        <pc:spChg chg="add 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3" creationId="{E56240BF-2234-62A4-2181-B3DCD156FC8E}"/>
          </ac:spMkLst>
        </pc:spChg>
        <pc:spChg chg="add 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4" creationId="{F24CC4CC-FA7F-82C1-856D-DB245F4B6FA0}"/>
          </ac:spMkLst>
        </pc:spChg>
        <pc:spChg chg="add 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5" creationId="{408E2B1A-077B-4256-4D81-3C1BDA0F17DE}"/>
          </ac:spMkLst>
        </pc:spChg>
        <pc:spChg chg="add 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6" creationId="{76DDE05F-5D8D-9742-BC06-D79EEF6F3DD4}"/>
          </ac:spMkLst>
        </pc:spChg>
        <pc:spChg chg="add del mod ord">
          <ac:chgData name="Sandlin, Maya" userId="S::msandlin@deloitte.com::329295a2-1b91-4dc4-8178-61636d7de7a9" providerId="AD" clId="Web-{77619B87-D272-8574-9FEE-2C7028598A4A}" dt="2022-08-18T16:04:56.819" v="168"/>
          <ac:spMkLst>
            <pc:docMk/>
            <pc:sldMk cId="2745247743" sldId="462"/>
            <ac:spMk id="7" creationId="{C26C0FA7-346F-439A-CCB5-6272690F1648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09:55.280" v="215"/>
          <ac:spMkLst>
            <pc:docMk/>
            <pc:sldMk cId="2745247743" sldId="462"/>
            <ac:spMk id="12" creationId="{8137935D-07C7-806D-E12C-A4917A6B2E4B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09:55.280" v="215"/>
          <ac:spMkLst>
            <pc:docMk/>
            <pc:sldMk cId="2745247743" sldId="462"/>
            <ac:spMk id="14" creationId="{4B16B419-5AC0-7C22-CEB6-76E748C5A216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18:11.464" v="788"/>
          <ac:spMkLst>
            <pc:docMk/>
            <pc:sldMk cId="2745247743" sldId="462"/>
            <ac:spMk id="16" creationId="{995D9A67-4C0E-F852-56FB-77109CB271BF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17:33.885" v="774"/>
          <ac:spMkLst>
            <pc:docMk/>
            <pc:sldMk cId="2745247743" sldId="462"/>
            <ac:spMk id="23" creationId="{D9C01AA9-945D-9D00-6123-B91FFE9E636E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17:33.885" v="774"/>
          <ac:spMkLst>
            <pc:docMk/>
            <pc:sldMk cId="2745247743" sldId="462"/>
            <ac:spMk id="25" creationId="{B2B77D4B-B97E-8D2A-C192-C7EDD832017F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17:33.885" v="774"/>
          <ac:spMkLst>
            <pc:docMk/>
            <pc:sldMk cId="2745247743" sldId="462"/>
            <ac:spMk id="27" creationId="{FE89863A-71ED-7D1C-7909-1E4DB5BA3790}"/>
          </ac:spMkLst>
        </pc:spChg>
        <pc:spChg chg="add del mod">
          <ac:chgData name="Sandlin, Maya" userId="S::msandlin@deloitte.com::329295a2-1b91-4dc4-8178-61636d7de7a9" providerId="AD" clId="Web-{77619B87-D272-8574-9FEE-2C7028598A4A}" dt="2022-08-18T16:18:11.464" v="788"/>
          <ac:spMkLst>
            <pc:docMk/>
            <pc:sldMk cId="2745247743" sldId="462"/>
            <ac:spMk id="6766" creationId="{C1C565E6-2E1C-8F62-1B31-9C6318C59DD9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18:11.464" v="788"/>
          <ac:spMkLst>
            <pc:docMk/>
            <pc:sldMk cId="2745247743" sldId="462"/>
            <ac:spMk id="6771" creationId="{2641377A-8E40-E4C4-8053-6F4BB38AEF14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2:41.643" v="1235" actId="20577"/>
          <ac:spMkLst>
            <pc:docMk/>
            <pc:sldMk cId="2745247743" sldId="462"/>
            <ac:spMk id="6773" creationId="{3C0509D5-4993-F641-5EF7-3DC9904CAD14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1:34.672" v="1124" actId="20577"/>
          <ac:spMkLst>
            <pc:docMk/>
            <pc:sldMk cId="2745247743" sldId="462"/>
            <ac:spMk id="6775" creationId="{558C9E33-55A2-7333-CA30-E8A181F742DE}"/>
          </ac:spMkLst>
        </pc:spChg>
        <pc:spChg chg="add mod">
          <ac:chgData name="Sandlin, Maya" userId="S::msandlin@deloitte.com::329295a2-1b91-4dc4-8178-61636d7de7a9" providerId="AD" clId="Web-{77619B87-D272-8574-9FEE-2C7028598A4A}" dt="2022-08-18T16:24:28.942" v="1516" actId="20577"/>
          <ac:spMkLst>
            <pc:docMk/>
            <pc:sldMk cId="2745247743" sldId="462"/>
            <ac:spMk id="6777" creationId="{0C9D7794-9319-4C3A-A181-79B52B7E509B}"/>
          </ac:spMkLst>
        </pc:spChg>
        <pc:graphicFrameChg chg="add del mod modGraphic">
          <ac:chgData name="Sandlin, Maya" userId="S::msandlin@deloitte.com::329295a2-1b91-4dc4-8178-61636d7de7a9" providerId="AD" clId="Web-{77619B87-D272-8574-9FEE-2C7028598A4A}" dt="2022-08-18T16:18:03.699" v="787"/>
          <ac:graphicFrameMkLst>
            <pc:docMk/>
            <pc:sldMk cId="2745247743" sldId="462"/>
            <ac:graphicFrameMk id="18" creationId="{55B2A877-FE9A-99A7-A90E-9AF7692052B3}"/>
          </ac:graphicFrameMkLst>
        </pc:graphicFrameChg>
      </pc:sldChg>
      <pc:sldChg chg="del">
        <pc:chgData name="Sandlin, Maya" userId="S::msandlin@deloitte.com::329295a2-1b91-4dc4-8178-61636d7de7a9" providerId="AD" clId="Web-{77619B87-D272-8574-9FEE-2C7028598A4A}" dt="2022-08-18T18:16:55.264" v="1615"/>
        <pc:sldMkLst>
          <pc:docMk/>
          <pc:sldMk cId="352307493" sldId="464"/>
        </pc:sldMkLst>
      </pc:sldChg>
      <pc:sldChg chg="add del">
        <pc:chgData name="Sandlin, Maya" userId="S::msandlin@deloitte.com::329295a2-1b91-4dc4-8178-61636d7de7a9" providerId="AD" clId="Web-{77619B87-D272-8574-9FEE-2C7028598A4A}" dt="2022-08-18T16:18:52.825" v="832"/>
        <pc:sldMkLst>
          <pc:docMk/>
          <pc:sldMk cId="2736438735" sldId="464"/>
        </pc:sldMkLst>
      </pc:sldChg>
      <pc:sldChg chg="add">
        <pc:chgData name="Sandlin, Maya" userId="S::msandlin@deloitte.com::329295a2-1b91-4dc4-8178-61636d7de7a9" providerId="AD" clId="Web-{77619B87-D272-8574-9FEE-2C7028598A4A}" dt="2022-08-18T18:17:37.797" v="1616"/>
        <pc:sldMkLst>
          <pc:docMk/>
          <pc:sldMk cId="3923910200" sldId="680"/>
        </pc:sldMkLst>
      </pc:sldChg>
    </pc:docChg>
  </pc:docChgLst>
  <pc:docChgLst>
    <pc:chgData name="Sandlin, Maya" userId="S::msandlin@deloitte.com::329295a2-1b91-4dc4-8178-61636d7de7a9" providerId="AD" clId="Web-{DC81D5A8-7B42-9A5E-EE60-05FAD992EDAA}"/>
    <pc:docChg chg="modSld">
      <pc:chgData name="Sandlin, Maya" userId="S::msandlin@deloitte.com::329295a2-1b91-4dc4-8178-61636d7de7a9" providerId="AD" clId="Web-{DC81D5A8-7B42-9A5E-EE60-05FAD992EDAA}" dt="2022-08-18T22:37:35.495" v="17" actId="1076"/>
      <pc:docMkLst>
        <pc:docMk/>
      </pc:docMkLst>
      <pc:sldChg chg="addSp delSp modSp">
        <pc:chgData name="Sandlin, Maya" userId="S::msandlin@deloitte.com::329295a2-1b91-4dc4-8178-61636d7de7a9" providerId="AD" clId="Web-{DC81D5A8-7B42-9A5E-EE60-05FAD992EDAA}" dt="2022-08-18T22:37:35.495" v="17" actId="1076"/>
        <pc:sldMkLst>
          <pc:docMk/>
          <pc:sldMk cId="1984168158" sldId="678"/>
        </pc:sldMkLst>
        <pc:spChg chg="mod">
          <ac:chgData name="Sandlin, Maya" userId="S::msandlin@deloitte.com::329295a2-1b91-4dc4-8178-61636d7de7a9" providerId="AD" clId="Web-{DC81D5A8-7B42-9A5E-EE60-05FAD992EDAA}" dt="2022-08-18T22:37:24.557" v="16" actId="1076"/>
          <ac:spMkLst>
            <pc:docMk/>
            <pc:sldMk cId="1984168158" sldId="678"/>
            <ac:spMk id="4" creationId="{94AC133D-E186-3958-B748-2EDBA2B7F432}"/>
          </ac:spMkLst>
        </pc:spChg>
        <pc:spChg chg="mod">
          <ac:chgData name="Sandlin, Maya" userId="S::msandlin@deloitte.com::329295a2-1b91-4dc4-8178-61636d7de7a9" providerId="AD" clId="Web-{DC81D5A8-7B42-9A5E-EE60-05FAD992EDAA}" dt="2022-08-18T22:37:35.495" v="17" actId="1076"/>
          <ac:spMkLst>
            <pc:docMk/>
            <pc:sldMk cId="1984168158" sldId="678"/>
            <ac:spMk id="7" creationId="{A7A673A4-7610-2638-DEFF-197D71CF1127}"/>
          </ac:spMkLst>
        </pc:spChg>
        <pc:picChg chg="add mod">
          <ac:chgData name="Sandlin, Maya" userId="S::msandlin@deloitte.com::329295a2-1b91-4dc4-8178-61636d7de7a9" providerId="AD" clId="Web-{DC81D5A8-7B42-9A5E-EE60-05FAD992EDAA}" dt="2022-08-18T22:37:21.651" v="15" actId="1076"/>
          <ac:picMkLst>
            <pc:docMk/>
            <pc:sldMk cId="1984168158" sldId="678"/>
            <ac:picMk id="3" creationId="{DEEFED0A-B6FF-586D-4E43-5DF8FA3E262F}"/>
          </ac:picMkLst>
        </pc:picChg>
        <pc:picChg chg="del">
          <ac:chgData name="Sandlin, Maya" userId="S::msandlin@deloitte.com::329295a2-1b91-4dc4-8178-61636d7de7a9" providerId="AD" clId="Web-{DC81D5A8-7B42-9A5E-EE60-05FAD992EDAA}" dt="2022-08-18T22:37:07.041" v="10"/>
          <ac:picMkLst>
            <pc:docMk/>
            <pc:sldMk cId="1984168158" sldId="678"/>
            <ac:picMk id="5" creationId="{5E5A63EF-CE2B-2134-9150-D0D612282979}"/>
          </ac:picMkLst>
        </pc:picChg>
      </pc:sldChg>
      <pc:sldChg chg="addSp delSp modSp">
        <pc:chgData name="Sandlin, Maya" userId="S::msandlin@deloitte.com::329295a2-1b91-4dc4-8178-61636d7de7a9" providerId="AD" clId="Web-{DC81D5A8-7B42-9A5E-EE60-05FAD992EDAA}" dt="2022-08-18T22:36:36.306" v="8" actId="1076"/>
        <pc:sldMkLst>
          <pc:docMk/>
          <pc:sldMk cId="3923910200" sldId="680"/>
        </pc:sldMkLst>
        <pc:spChg chg="mod">
          <ac:chgData name="Sandlin, Maya" userId="S::msandlin@deloitte.com::329295a2-1b91-4dc4-8178-61636d7de7a9" providerId="AD" clId="Web-{DC81D5A8-7B42-9A5E-EE60-05FAD992EDAA}" dt="2022-08-18T22:36:26.274" v="7" actId="1076"/>
          <ac:spMkLst>
            <pc:docMk/>
            <pc:sldMk cId="3923910200" sldId="680"/>
            <ac:spMk id="4" creationId="{9A5A361D-584A-C208-1DB6-B7767B0FC9EB}"/>
          </ac:spMkLst>
        </pc:spChg>
        <pc:picChg chg="add mod modCrop">
          <ac:chgData name="Sandlin, Maya" userId="S::msandlin@deloitte.com::329295a2-1b91-4dc4-8178-61636d7de7a9" providerId="AD" clId="Web-{DC81D5A8-7B42-9A5E-EE60-05FAD992EDAA}" dt="2022-08-18T22:36:36.306" v="8" actId="1076"/>
          <ac:picMkLst>
            <pc:docMk/>
            <pc:sldMk cId="3923910200" sldId="680"/>
            <ac:picMk id="3" creationId="{B27F7B7B-7F90-B640-3ECF-41D267FB34AA}"/>
          </ac:picMkLst>
        </pc:picChg>
        <pc:picChg chg="del">
          <ac:chgData name="Sandlin, Maya" userId="S::msandlin@deloitte.com::329295a2-1b91-4dc4-8178-61636d7de7a9" providerId="AD" clId="Web-{DC81D5A8-7B42-9A5E-EE60-05FAD992EDAA}" dt="2022-08-18T22:35:57.508" v="1"/>
          <ac:picMkLst>
            <pc:docMk/>
            <pc:sldMk cId="3923910200" sldId="680"/>
            <ac:picMk id="8" creationId="{400615A6-4183-4520-9F09-499C155AA0AE}"/>
          </ac:picMkLst>
        </pc:picChg>
      </pc:sldChg>
    </pc:docChg>
  </pc:docChgLst>
  <pc:docChgLst>
    <pc:chgData name="Gupta, Maanik" userId="S::maagupta@deloitte.com::df80c2e9-1ba8-47de-bdfe-c5555afca713" providerId="AD" clId="Web-{C82971BE-86E8-493F-BE96-9D856AA4AFCF}"/>
    <pc:docChg chg="modSld">
      <pc:chgData name="Gupta, Maanik" userId="S::maagupta@deloitte.com::df80c2e9-1ba8-47de-bdfe-c5555afca713" providerId="AD" clId="Web-{C82971BE-86E8-493F-BE96-9D856AA4AFCF}" dt="2022-08-18T14:51:16.526" v="9" actId="20577"/>
      <pc:docMkLst>
        <pc:docMk/>
      </pc:docMkLst>
      <pc:sldChg chg="modSp">
        <pc:chgData name="Gupta, Maanik" userId="S::maagupta@deloitte.com::df80c2e9-1ba8-47de-bdfe-c5555afca713" providerId="AD" clId="Web-{C82971BE-86E8-493F-BE96-9D856AA4AFCF}" dt="2022-08-18T14:51:16.526" v="9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C82971BE-86E8-493F-BE96-9D856AA4AFCF}" dt="2022-08-18T14:51:16.526" v="9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Umholtz, Jake" userId="68c67aa9-53c4-4aab-a03d-c07f0aadf984" providerId="ADAL" clId="{A9556D7F-CC22-4AB2-A243-FC3401A6D166}"/>
    <pc:docChg chg="undo redo custSel addSld delSld modSld sldOrd">
      <pc:chgData name="Umholtz, Jake" userId="68c67aa9-53c4-4aab-a03d-c07f0aadf984" providerId="ADAL" clId="{A9556D7F-CC22-4AB2-A243-FC3401A6D166}" dt="2022-08-19T20:35:38.853" v="11567" actId="1076"/>
      <pc:docMkLst>
        <pc:docMk/>
      </pc:docMkLst>
      <pc:sldChg chg="modSp add del mod">
        <pc:chgData name="Umholtz, Jake" userId="68c67aa9-53c4-4aab-a03d-c07f0aadf984" providerId="ADAL" clId="{A9556D7F-CC22-4AB2-A243-FC3401A6D166}" dt="2022-08-18T19:12:28.150" v="7677" actId="47"/>
        <pc:sldMkLst>
          <pc:docMk/>
          <pc:sldMk cId="3187100817" sldId="262"/>
        </pc:sldMkLst>
        <pc:spChg chg="mod">
          <ac:chgData name="Umholtz, Jake" userId="68c67aa9-53c4-4aab-a03d-c07f0aadf984" providerId="ADAL" clId="{A9556D7F-CC22-4AB2-A243-FC3401A6D166}" dt="2022-08-18T18:19:38.237" v="6486" actId="20577"/>
          <ac:spMkLst>
            <pc:docMk/>
            <pc:sldMk cId="3187100817" sldId="262"/>
            <ac:spMk id="16" creationId="{00000000-0000-0000-0000-000000000000}"/>
          </ac:spMkLst>
        </pc:spChg>
      </pc:sldChg>
      <pc:sldChg chg="addSp delSp modSp del mod modClrScheme chgLayout">
        <pc:chgData name="Umholtz, Jake" userId="68c67aa9-53c4-4aab-a03d-c07f0aadf984" providerId="ADAL" clId="{A9556D7F-CC22-4AB2-A243-FC3401A6D166}" dt="2022-08-18T19:12:29.644" v="7678" actId="47"/>
        <pc:sldMkLst>
          <pc:docMk/>
          <pc:sldMk cId="2338008872" sldId="263"/>
        </pc:sldMkLst>
        <pc:spChg chg="mod ord">
          <ac:chgData name="Umholtz, Jake" userId="68c67aa9-53c4-4aab-a03d-c07f0aadf984" providerId="ADAL" clId="{A9556D7F-CC22-4AB2-A243-FC3401A6D166}" dt="2022-08-18T16:24:48.817" v="5892" actId="700"/>
          <ac:spMkLst>
            <pc:docMk/>
            <pc:sldMk cId="2338008872" sldId="263"/>
            <ac:spMk id="3" creationId="{AED30E20-1946-418A-8DDA-E16F6E7FFC07}"/>
          </ac:spMkLst>
        </pc:spChg>
        <pc:spChg chg="add del mod">
          <ac:chgData name="Umholtz, Jake" userId="68c67aa9-53c4-4aab-a03d-c07f0aadf984" providerId="ADAL" clId="{A9556D7F-CC22-4AB2-A243-FC3401A6D166}" dt="2022-08-18T16:23:42.218" v="5888" actId="931"/>
          <ac:spMkLst>
            <pc:docMk/>
            <pc:sldMk cId="2338008872" sldId="263"/>
            <ac:spMk id="5" creationId="{3E57FD7F-C1AA-4C34-8C6B-7D1691E37DC9}"/>
          </ac:spMkLst>
        </pc:spChg>
        <pc:spChg chg="mod ord">
          <ac:chgData name="Umholtz, Jake" userId="68c67aa9-53c4-4aab-a03d-c07f0aadf984" providerId="ADAL" clId="{A9556D7F-CC22-4AB2-A243-FC3401A6D166}" dt="2022-08-18T18:18:15.296" v="6403" actId="14100"/>
          <ac:spMkLst>
            <pc:docMk/>
            <pc:sldMk cId="2338008872" sldId="263"/>
            <ac:spMk id="6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8T16:23:44.590" v="5889" actId="478"/>
          <ac:spMkLst>
            <pc:docMk/>
            <pc:sldMk cId="2338008872" sldId="263"/>
            <ac:spMk id="7" creationId="{E47C6402-0427-4319-9CFF-AF198414636E}"/>
          </ac:spMkLst>
        </pc:spChg>
        <pc:spChg chg="mod">
          <ac:chgData name="Umholtz, Jake" userId="68c67aa9-53c4-4aab-a03d-c07f0aadf984" providerId="ADAL" clId="{A9556D7F-CC22-4AB2-A243-FC3401A6D166}" dt="2022-08-17T19:03:29.622" v="166" actId="20577"/>
          <ac:spMkLst>
            <pc:docMk/>
            <pc:sldMk cId="2338008872" sldId="263"/>
            <ac:spMk id="8" creationId="{AA7B19AE-92EA-423B-80A0-5B6A59472E7B}"/>
          </ac:spMkLst>
        </pc:spChg>
        <pc:spChg chg="add del mod">
          <ac:chgData name="Umholtz, Jake" userId="68c67aa9-53c4-4aab-a03d-c07f0aadf984" providerId="ADAL" clId="{A9556D7F-CC22-4AB2-A243-FC3401A6D166}" dt="2022-08-18T16:25:10.686" v="5896" actId="478"/>
          <ac:spMkLst>
            <pc:docMk/>
            <pc:sldMk cId="2338008872" sldId="263"/>
            <ac:spMk id="13" creationId="{83FE9015-8D78-4678-8133-0A6BE6E28EDC}"/>
          </ac:spMkLst>
        </pc:spChg>
        <pc:spChg chg="add del mod">
          <ac:chgData name="Umholtz, Jake" userId="68c67aa9-53c4-4aab-a03d-c07f0aadf984" providerId="ADAL" clId="{A9556D7F-CC22-4AB2-A243-FC3401A6D166}" dt="2022-08-18T18:18:11.162" v="6402" actId="478"/>
          <ac:spMkLst>
            <pc:docMk/>
            <pc:sldMk cId="2338008872" sldId="263"/>
            <ac:spMk id="15" creationId="{1C9BC180-34E3-4609-BFE1-1C1124686830}"/>
          </ac:spMkLst>
        </pc:spChg>
        <pc:picChg chg="add del">
          <ac:chgData name="Umholtz, Jake" userId="68c67aa9-53c4-4aab-a03d-c07f0aadf984" providerId="ADAL" clId="{A9556D7F-CC22-4AB2-A243-FC3401A6D166}" dt="2022-08-18T16:14:56.271" v="5857"/>
          <ac:picMkLst>
            <pc:docMk/>
            <pc:sldMk cId="2338008872" sldId="263"/>
            <ac:picMk id="2" creationId="{165E42D8-423B-41D4-A8CF-7238AE8DFCAC}"/>
          </ac:picMkLst>
        </pc:picChg>
        <pc:picChg chg="add del mod ord">
          <ac:chgData name="Umholtz, Jake" userId="68c67aa9-53c4-4aab-a03d-c07f0aadf984" providerId="ADAL" clId="{A9556D7F-CC22-4AB2-A243-FC3401A6D166}" dt="2022-08-18T18:18:10.443" v="6401" actId="478"/>
          <ac:picMkLst>
            <pc:docMk/>
            <pc:sldMk cId="2338008872" sldId="263"/>
            <ac:picMk id="10" creationId="{416BE93B-28AD-4E77-921A-3DBF2C62BB8B}"/>
          </ac:picMkLst>
        </pc:picChg>
        <pc:picChg chg="del">
          <ac:chgData name="Umholtz, Jake" userId="68c67aa9-53c4-4aab-a03d-c07f0aadf984" providerId="ADAL" clId="{A9556D7F-CC22-4AB2-A243-FC3401A6D166}" dt="2022-08-18T16:23:38.187" v="5887" actId="478"/>
          <ac:picMkLst>
            <pc:docMk/>
            <pc:sldMk cId="2338008872" sldId="263"/>
            <ac:picMk id="11" creationId="{00000000-0000-0000-0000-000000000000}"/>
          </ac:picMkLst>
        </pc:picChg>
      </pc:sldChg>
      <pc:sldChg chg="del">
        <pc:chgData name="Umholtz, Jake" userId="68c67aa9-53c4-4aab-a03d-c07f0aadf984" providerId="ADAL" clId="{A9556D7F-CC22-4AB2-A243-FC3401A6D166}" dt="2022-08-17T19:08:49.205" v="215" actId="2696"/>
        <pc:sldMkLst>
          <pc:docMk/>
          <pc:sldMk cId="696291887" sldId="264"/>
        </pc:sldMkLst>
      </pc:sldChg>
      <pc:sldChg chg="ord">
        <pc:chgData name="Umholtz, Jake" userId="68c67aa9-53c4-4aab-a03d-c07f0aadf984" providerId="ADAL" clId="{A9556D7F-CC22-4AB2-A243-FC3401A6D166}" dt="2022-08-18T18:12:41.675" v="6357"/>
        <pc:sldMkLst>
          <pc:docMk/>
          <pc:sldMk cId="4255256458" sldId="270"/>
        </pc:sldMkLst>
      </pc:sldChg>
      <pc:sldChg chg="add del">
        <pc:chgData name="Umholtz, Jake" userId="68c67aa9-53c4-4aab-a03d-c07f0aadf984" providerId="ADAL" clId="{A9556D7F-CC22-4AB2-A243-FC3401A6D166}" dt="2022-08-18T22:51:47.498" v="9344" actId="47"/>
        <pc:sldMkLst>
          <pc:docMk/>
          <pc:sldMk cId="317134227" sldId="281"/>
        </pc:sldMkLst>
      </pc:sldChg>
      <pc:sldChg chg="del">
        <pc:chgData name="Umholtz, Jake" userId="68c67aa9-53c4-4aab-a03d-c07f0aadf984" providerId="ADAL" clId="{A9556D7F-CC22-4AB2-A243-FC3401A6D166}" dt="2022-08-17T19:03:01.352" v="153" actId="2696"/>
        <pc:sldMkLst>
          <pc:docMk/>
          <pc:sldMk cId="2086385603" sldId="342"/>
        </pc:sldMkLst>
      </pc:sldChg>
      <pc:sldChg chg="modSp del mod modNotesTx">
        <pc:chgData name="Umholtz, Jake" userId="68c67aa9-53c4-4aab-a03d-c07f0aadf984" providerId="ADAL" clId="{A9556D7F-CC22-4AB2-A243-FC3401A6D166}" dt="2022-08-18T18:32:07.388" v="6776" actId="47"/>
        <pc:sldMkLst>
          <pc:docMk/>
          <pc:sldMk cId="2552575641" sldId="344"/>
        </pc:sldMkLst>
        <pc:spChg chg="mod">
          <ac:chgData name="Umholtz, Jake" userId="68c67aa9-53c4-4aab-a03d-c07f0aadf984" providerId="ADAL" clId="{A9556D7F-CC22-4AB2-A243-FC3401A6D166}" dt="2022-08-17T19:13:31.181" v="445" actId="20577"/>
          <ac:spMkLst>
            <pc:docMk/>
            <pc:sldMk cId="2552575641" sldId="344"/>
            <ac:spMk id="4" creationId="{00000000-0000-0000-0000-000000000000}"/>
          </ac:spMkLst>
        </pc:spChg>
      </pc:sldChg>
      <pc:sldChg chg="addSp delSp modSp add del mod ord modNotesTx">
        <pc:chgData name="Umholtz, Jake" userId="68c67aa9-53c4-4aab-a03d-c07f0aadf984" providerId="ADAL" clId="{A9556D7F-CC22-4AB2-A243-FC3401A6D166}" dt="2022-08-19T17:20:34.431" v="11056" actId="207"/>
        <pc:sldMkLst>
          <pc:docMk/>
          <pc:sldMk cId="1714877050" sldId="367"/>
        </pc:sldMkLst>
        <pc:spChg chg="mod">
          <ac:chgData name="Umholtz, Jake" userId="68c67aa9-53c4-4aab-a03d-c07f0aadf984" providerId="ADAL" clId="{A9556D7F-CC22-4AB2-A243-FC3401A6D166}" dt="2022-08-18T18:56:27.514" v="7265" actId="20577"/>
          <ac:spMkLst>
            <pc:docMk/>
            <pc:sldMk cId="1714877050" sldId="367"/>
            <ac:spMk id="3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9:16:44.757" v="7847" actId="114"/>
          <ac:spMkLst>
            <pc:docMk/>
            <pc:sldMk cId="1714877050" sldId="367"/>
            <ac:spMk id="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1:14:27.279" v="8540"/>
          <ac:spMkLst>
            <pc:docMk/>
            <pc:sldMk cId="1714877050" sldId="367"/>
            <ac:spMk id="12" creationId="{2C6A558D-7FEE-40E9-A0BF-D2C06BDE070F}"/>
          </ac:spMkLst>
        </pc:spChg>
        <pc:spChg chg="mod">
          <ac:chgData name="Umholtz, Jake" userId="68c67aa9-53c4-4aab-a03d-c07f0aadf984" providerId="ADAL" clId="{A9556D7F-CC22-4AB2-A243-FC3401A6D166}" dt="2022-08-18T21:14:27.279" v="8540"/>
          <ac:spMkLst>
            <pc:docMk/>
            <pc:sldMk cId="1714877050" sldId="367"/>
            <ac:spMk id="13" creationId="{B5AC687F-7358-4D30-8690-94BDE6D0BE20}"/>
          </ac:spMkLst>
        </pc:spChg>
        <pc:spChg chg="mod">
          <ac:chgData name="Umholtz, Jake" userId="68c67aa9-53c4-4aab-a03d-c07f0aadf984" providerId="ADAL" clId="{A9556D7F-CC22-4AB2-A243-FC3401A6D166}" dt="2022-08-18T21:14:27.279" v="8540"/>
          <ac:spMkLst>
            <pc:docMk/>
            <pc:sldMk cId="1714877050" sldId="367"/>
            <ac:spMk id="14" creationId="{C084AFE2-615E-4C0D-A646-A0132D4BB80E}"/>
          </ac:spMkLst>
        </pc:spChg>
        <pc:spChg chg="mod">
          <ac:chgData name="Umholtz, Jake" userId="68c67aa9-53c4-4aab-a03d-c07f0aadf984" providerId="ADAL" clId="{A9556D7F-CC22-4AB2-A243-FC3401A6D166}" dt="2022-08-18T21:14:27.279" v="8540"/>
          <ac:spMkLst>
            <pc:docMk/>
            <pc:sldMk cId="1714877050" sldId="367"/>
            <ac:spMk id="15" creationId="{9775D952-FB04-4972-A5CA-89604AC747F9}"/>
          </ac:spMkLst>
        </pc:spChg>
        <pc:spChg chg="add del mod">
          <ac:chgData name="Umholtz, Jake" userId="68c67aa9-53c4-4aab-a03d-c07f0aadf984" providerId="ADAL" clId="{A9556D7F-CC22-4AB2-A243-FC3401A6D166}" dt="2022-08-18T21:20:35.896" v="8595"/>
          <ac:spMkLst>
            <pc:docMk/>
            <pc:sldMk cId="1714877050" sldId="367"/>
            <ac:spMk id="16" creationId="{D5388070-7270-4B4D-AAA7-8D0C6C6C747A}"/>
          </ac:spMkLst>
        </pc:spChg>
        <pc:spChg chg="mod">
          <ac:chgData name="Umholtz, Jake" userId="68c67aa9-53c4-4aab-a03d-c07f0aadf984" providerId="ADAL" clId="{A9556D7F-CC22-4AB2-A243-FC3401A6D166}" dt="2022-08-18T21:20:44.989" v="8596"/>
          <ac:spMkLst>
            <pc:docMk/>
            <pc:sldMk cId="1714877050" sldId="367"/>
            <ac:spMk id="18" creationId="{8BCBADAF-244E-4E52-B609-248D81B26F7E}"/>
          </ac:spMkLst>
        </pc:spChg>
        <pc:spChg chg="mod">
          <ac:chgData name="Umholtz, Jake" userId="68c67aa9-53c4-4aab-a03d-c07f0aadf984" providerId="ADAL" clId="{A9556D7F-CC22-4AB2-A243-FC3401A6D166}" dt="2022-08-18T21:20:44.989" v="8596"/>
          <ac:spMkLst>
            <pc:docMk/>
            <pc:sldMk cId="1714877050" sldId="367"/>
            <ac:spMk id="19" creationId="{516F4F4B-0D0A-4CE1-AF59-3E856F3ABA6D}"/>
          </ac:spMkLst>
        </pc:spChg>
        <pc:spChg chg="mod">
          <ac:chgData name="Umholtz, Jake" userId="68c67aa9-53c4-4aab-a03d-c07f0aadf984" providerId="ADAL" clId="{A9556D7F-CC22-4AB2-A243-FC3401A6D166}" dt="2022-08-18T21:20:44.989" v="8596"/>
          <ac:spMkLst>
            <pc:docMk/>
            <pc:sldMk cId="1714877050" sldId="367"/>
            <ac:spMk id="20" creationId="{D8243872-8208-425F-A7EC-066E104AA70A}"/>
          </ac:spMkLst>
        </pc:spChg>
        <pc:spChg chg="mod">
          <ac:chgData name="Umholtz, Jake" userId="68c67aa9-53c4-4aab-a03d-c07f0aadf984" providerId="ADAL" clId="{A9556D7F-CC22-4AB2-A243-FC3401A6D166}" dt="2022-08-18T21:20:44.989" v="8596"/>
          <ac:spMkLst>
            <pc:docMk/>
            <pc:sldMk cId="1714877050" sldId="367"/>
            <ac:spMk id="21" creationId="{A86DD086-C2BC-4E7B-883B-1D6EDC8B6A08}"/>
          </ac:spMkLst>
        </pc:spChg>
        <pc:spChg chg="mod">
          <ac:chgData name="Umholtz, Jake" userId="68c67aa9-53c4-4aab-a03d-c07f0aadf984" providerId="ADAL" clId="{A9556D7F-CC22-4AB2-A243-FC3401A6D166}" dt="2022-08-18T22:59:15.862" v="9432" actId="207"/>
          <ac:spMkLst>
            <pc:docMk/>
            <pc:sldMk cId="1714877050" sldId="367"/>
            <ac:spMk id="23" creationId="{5851C466-AD2F-4C93-BF24-F8E52837F73B}"/>
          </ac:spMkLst>
        </pc:spChg>
        <pc:spChg chg="mod topLvl">
          <ac:chgData name="Umholtz, Jake" userId="68c67aa9-53c4-4aab-a03d-c07f0aadf984" providerId="ADAL" clId="{A9556D7F-CC22-4AB2-A243-FC3401A6D166}" dt="2022-08-19T17:20:28.185" v="11055" actId="207"/>
          <ac:spMkLst>
            <pc:docMk/>
            <pc:sldMk cId="1714877050" sldId="367"/>
            <ac:spMk id="2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3:03:05.351" v="9466" actId="207"/>
          <ac:spMkLst>
            <pc:docMk/>
            <pc:sldMk cId="1714877050" sldId="367"/>
            <ac:spMk id="2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17:20:34.431" v="11056" actId="207"/>
          <ac:spMkLst>
            <pc:docMk/>
            <pc:sldMk cId="1714877050" sldId="367"/>
            <ac:spMk id="26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9:15.862" v="9432" actId="207"/>
          <ac:spMkLst>
            <pc:docMk/>
            <pc:sldMk cId="1714877050" sldId="367"/>
            <ac:spMk id="27" creationId="{A5F6BA3C-35EE-45B1-9465-2480C3ABCED7}"/>
          </ac:spMkLst>
        </pc:spChg>
        <pc:spChg chg="mod">
          <ac:chgData name="Umholtz, Jake" userId="68c67aa9-53c4-4aab-a03d-c07f0aadf984" providerId="ADAL" clId="{A9556D7F-CC22-4AB2-A243-FC3401A6D166}" dt="2022-08-18T22:59:15.862" v="9432" actId="207"/>
          <ac:spMkLst>
            <pc:docMk/>
            <pc:sldMk cId="1714877050" sldId="367"/>
            <ac:spMk id="28" creationId="{3A5B9AA2-D811-4F54-8BBE-4A752369446D}"/>
          </ac:spMkLst>
        </pc:spChg>
        <pc:spChg chg="mod">
          <ac:chgData name="Umholtz, Jake" userId="68c67aa9-53c4-4aab-a03d-c07f0aadf984" providerId="ADAL" clId="{A9556D7F-CC22-4AB2-A243-FC3401A6D166}" dt="2022-08-18T23:03:05.755" v="9467" actId="207"/>
          <ac:spMkLst>
            <pc:docMk/>
            <pc:sldMk cId="1714877050" sldId="367"/>
            <ac:spMk id="29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19:03:17.064" v="7631" actId="403"/>
          <ac:spMkLst>
            <pc:docMk/>
            <pc:sldMk cId="1714877050" sldId="367"/>
            <ac:spMk id="30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9:03:59.952" v="7656" actId="207"/>
          <ac:spMkLst>
            <pc:docMk/>
            <pc:sldMk cId="1714877050" sldId="367"/>
            <ac:spMk id="31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9:15.862" v="9432" actId="207"/>
          <ac:spMkLst>
            <pc:docMk/>
            <pc:sldMk cId="1714877050" sldId="367"/>
            <ac:spMk id="32" creationId="{28530341-0FEC-4660-8AF5-74085417885E}"/>
          </ac:spMkLst>
        </pc:spChg>
        <pc:spChg chg="mod">
          <ac:chgData name="Umholtz, Jake" userId="68c67aa9-53c4-4aab-a03d-c07f0aadf984" providerId="ADAL" clId="{A9556D7F-CC22-4AB2-A243-FC3401A6D166}" dt="2022-08-18T22:59:15.862" v="9432" actId="207"/>
          <ac:spMkLst>
            <pc:docMk/>
            <pc:sldMk cId="1714877050" sldId="367"/>
            <ac:spMk id="33" creationId="{CC01B588-85F0-4485-99B5-23F5FBD50CF1}"/>
          </ac:spMkLst>
        </pc:spChg>
        <pc:spChg chg="mod">
          <ac:chgData name="Umholtz, Jake" userId="68c67aa9-53c4-4aab-a03d-c07f0aadf984" providerId="ADAL" clId="{A9556D7F-CC22-4AB2-A243-FC3401A6D166}" dt="2022-08-18T22:59:24.559" v="9434"/>
          <ac:spMkLst>
            <pc:docMk/>
            <pc:sldMk cId="1714877050" sldId="367"/>
            <ac:spMk id="35" creationId="{C2873014-9074-4A98-B684-6525A3D0472B}"/>
          </ac:spMkLst>
        </pc:spChg>
        <pc:spChg chg="mod">
          <ac:chgData name="Umholtz, Jake" userId="68c67aa9-53c4-4aab-a03d-c07f0aadf984" providerId="ADAL" clId="{A9556D7F-CC22-4AB2-A243-FC3401A6D166}" dt="2022-08-18T22:59:24.559" v="9434"/>
          <ac:spMkLst>
            <pc:docMk/>
            <pc:sldMk cId="1714877050" sldId="367"/>
            <ac:spMk id="36" creationId="{8FD302FB-3709-463E-8F8A-0BCA62421F17}"/>
          </ac:spMkLst>
        </pc:spChg>
        <pc:spChg chg="mod">
          <ac:chgData name="Umholtz, Jake" userId="68c67aa9-53c4-4aab-a03d-c07f0aadf984" providerId="ADAL" clId="{A9556D7F-CC22-4AB2-A243-FC3401A6D166}" dt="2022-08-18T22:59:24.559" v="9434"/>
          <ac:spMkLst>
            <pc:docMk/>
            <pc:sldMk cId="1714877050" sldId="367"/>
            <ac:spMk id="37" creationId="{CB96153D-B11C-4440-B28E-C832B3402348}"/>
          </ac:spMkLst>
        </pc:spChg>
        <pc:spChg chg="mod">
          <ac:chgData name="Umholtz, Jake" userId="68c67aa9-53c4-4aab-a03d-c07f0aadf984" providerId="ADAL" clId="{A9556D7F-CC22-4AB2-A243-FC3401A6D166}" dt="2022-08-18T22:59:24.559" v="9434"/>
          <ac:spMkLst>
            <pc:docMk/>
            <pc:sldMk cId="1714877050" sldId="367"/>
            <ac:spMk id="38" creationId="{7F252529-0C28-421E-876E-80529BA7F313}"/>
          </ac:spMkLst>
        </pc:spChg>
        <pc:spChg chg="mod">
          <ac:chgData name="Umholtz, Jake" userId="68c67aa9-53c4-4aab-a03d-c07f0aadf984" providerId="ADAL" clId="{A9556D7F-CC22-4AB2-A243-FC3401A6D166}" dt="2022-08-18T22:59:24.559" v="9434"/>
          <ac:spMkLst>
            <pc:docMk/>
            <pc:sldMk cId="1714877050" sldId="367"/>
            <ac:spMk id="39" creationId="{EFE1D61B-BE2C-4C17-B1B5-B271B11480A8}"/>
          </ac:spMkLst>
        </pc:spChg>
        <pc:spChg chg="mod">
          <ac:chgData name="Umholtz, Jake" userId="68c67aa9-53c4-4aab-a03d-c07f0aadf984" providerId="ADAL" clId="{A9556D7F-CC22-4AB2-A243-FC3401A6D166}" dt="2022-08-18T22:59:30.208" v="9436"/>
          <ac:spMkLst>
            <pc:docMk/>
            <pc:sldMk cId="1714877050" sldId="367"/>
            <ac:spMk id="41" creationId="{E2AF6286-3A8A-4DFA-9E4C-1FD6DB597AF8}"/>
          </ac:spMkLst>
        </pc:spChg>
        <pc:spChg chg="mod">
          <ac:chgData name="Umholtz, Jake" userId="68c67aa9-53c4-4aab-a03d-c07f0aadf984" providerId="ADAL" clId="{A9556D7F-CC22-4AB2-A243-FC3401A6D166}" dt="2022-08-18T22:59:30.208" v="9436"/>
          <ac:spMkLst>
            <pc:docMk/>
            <pc:sldMk cId="1714877050" sldId="367"/>
            <ac:spMk id="42" creationId="{009FC3AB-95DC-4DC1-A8C6-3B7F8F97332A}"/>
          </ac:spMkLst>
        </pc:spChg>
        <pc:spChg chg="mod">
          <ac:chgData name="Umholtz, Jake" userId="68c67aa9-53c4-4aab-a03d-c07f0aadf984" providerId="ADAL" clId="{A9556D7F-CC22-4AB2-A243-FC3401A6D166}" dt="2022-08-18T23:00:44.285" v="9448" actId="207"/>
          <ac:spMkLst>
            <pc:docMk/>
            <pc:sldMk cId="1714877050" sldId="367"/>
            <ac:spMk id="44" creationId="{1DC94047-6616-4867-8582-427BD2FD988C}"/>
          </ac:spMkLst>
        </pc:spChg>
        <pc:spChg chg="mod">
          <ac:chgData name="Umholtz, Jake" userId="68c67aa9-53c4-4aab-a03d-c07f0aadf984" providerId="ADAL" clId="{A9556D7F-CC22-4AB2-A243-FC3401A6D166}" dt="2022-08-18T23:00:44.285" v="9448" actId="207"/>
          <ac:spMkLst>
            <pc:docMk/>
            <pc:sldMk cId="1714877050" sldId="367"/>
            <ac:spMk id="45" creationId="{3516B4F7-A6FE-4CDF-B41E-D950F51D6EFB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47" creationId="{E5918EA1-7378-473B-87F3-B0A04A7F2661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48" creationId="{6E956ADF-593B-4192-B359-FE6A155F2623}"/>
          </ac:spMkLst>
        </pc:spChg>
        <pc:spChg chg="mod">
          <ac:chgData name="Umholtz, Jake" userId="68c67aa9-53c4-4aab-a03d-c07f0aadf984" providerId="ADAL" clId="{A9556D7F-CC22-4AB2-A243-FC3401A6D166}" dt="2022-08-18T23:01:26.557" v="9454"/>
          <ac:spMkLst>
            <pc:docMk/>
            <pc:sldMk cId="1714877050" sldId="367"/>
            <ac:spMk id="50" creationId="{009B2CE7-4C91-43EB-A9F4-ADB1B8510070}"/>
          </ac:spMkLst>
        </pc:spChg>
        <pc:spChg chg="mod">
          <ac:chgData name="Umholtz, Jake" userId="68c67aa9-53c4-4aab-a03d-c07f0aadf984" providerId="ADAL" clId="{A9556D7F-CC22-4AB2-A243-FC3401A6D166}" dt="2022-08-18T23:01:26.557" v="9454"/>
          <ac:spMkLst>
            <pc:docMk/>
            <pc:sldMk cId="1714877050" sldId="367"/>
            <ac:spMk id="51" creationId="{F5C50C91-44FE-45EA-AEC4-060305F75CD9}"/>
          </ac:spMkLst>
        </pc:spChg>
        <pc:spChg chg="mod">
          <ac:chgData name="Umholtz, Jake" userId="68c67aa9-53c4-4aab-a03d-c07f0aadf984" providerId="ADAL" clId="{A9556D7F-CC22-4AB2-A243-FC3401A6D166}" dt="2022-08-18T23:01:26.557" v="9454"/>
          <ac:spMkLst>
            <pc:docMk/>
            <pc:sldMk cId="1714877050" sldId="367"/>
            <ac:spMk id="52" creationId="{FFC5CD01-B37E-4874-ABD3-61FCF3BD574B}"/>
          </ac:spMkLst>
        </pc:spChg>
        <pc:spChg chg="mod">
          <ac:chgData name="Umholtz, Jake" userId="68c67aa9-53c4-4aab-a03d-c07f0aadf984" providerId="ADAL" clId="{A9556D7F-CC22-4AB2-A243-FC3401A6D166}" dt="2022-08-18T23:01:26.557" v="9454"/>
          <ac:spMkLst>
            <pc:docMk/>
            <pc:sldMk cId="1714877050" sldId="367"/>
            <ac:spMk id="53" creationId="{B2172C6A-DB9C-4E16-B84B-4CC8BADBDB6C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55" creationId="{7F07883B-EECD-401B-9D91-348238626D2C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56" creationId="{5AF75554-0049-4FB7-909F-2A7DFACE11C5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57" creationId="{049851AA-925A-4445-9B96-A1C73A28D1D1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58" creationId="{A29FDA9D-058F-4DB0-8A3C-1E53CB37AF17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60" creationId="{1A126BF1-4756-4292-AAD2-1E708ABC74EE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61" creationId="{66322C00-09FE-4459-AB8F-1A899EB43783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62" creationId="{E5F5A6FD-BC3D-44E5-9F94-91662520C0EE}"/>
          </ac:spMkLst>
        </pc:spChg>
        <pc:spChg chg="mod">
          <ac:chgData name="Umholtz, Jake" userId="68c67aa9-53c4-4aab-a03d-c07f0aadf984" providerId="ADAL" clId="{A9556D7F-CC22-4AB2-A243-FC3401A6D166}" dt="2022-08-18T23:02:23.889" v="9462" actId="207"/>
          <ac:spMkLst>
            <pc:docMk/>
            <pc:sldMk cId="1714877050" sldId="367"/>
            <ac:spMk id="63" creationId="{4414170A-1305-4ACB-8B9E-676D1E5D1890}"/>
          </ac:spMkLst>
        </pc:spChg>
        <pc:grpChg chg="add del mod">
          <ac:chgData name="Umholtz, Jake" userId="68c67aa9-53c4-4aab-a03d-c07f0aadf984" providerId="ADAL" clId="{A9556D7F-CC22-4AB2-A243-FC3401A6D166}" dt="2022-08-18T19:02:48.998" v="7617" actId="165"/>
          <ac:grpSpMkLst>
            <pc:docMk/>
            <pc:sldMk cId="1714877050" sldId="367"/>
            <ac:grpSpMk id="2" creationId="{6C14F02C-72D1-4DA2-B4B8-0726E604DF7C}"/>
          </ac:grpSpMkLst>
        </pc:grpChg>
        <pc:grpChg chg="add del mod">
          <ac:chgData name="Umholtz, Jake" userId="68c67aa9-53c4-4aab-a03d-c07f0aadf984" providerId="ADAL" clId="{A9556D7F-CC22-4AB2-A243-FC3401A6D166}" dt="2022-08-18T21:20:33.781" v="8593" actId="478"/>
          <ac:grpSpMkLst>
            <pc:docMk/>
            <pc:sldMk cId="1714877050" sldId="367"/>
            <ac:grpSpMk id="11" creationId="{D0C2D949-3F52-4FEE-BE17-44AA833633E7}"/>
          </ac:grpSpMkLst>
        </pc:grpChg>
        <pc:grpChg chg="add mod">
          <ac:chgData name="Umholtz, Jake" userId="68c67aa9-53c4-4aab-a03d-c07f0aadf984" providerId="ADAL" clId="{A9556D7F-CC22-4AB2-A243-FC3401A6D166}" dt="2022-08-18T21:20:44.989" v="8596"/>
          <ac:grpSpMkLst>
            <pc:docMk/>
            <pc:sldMk cId="1714877050" sldId="367"/>
            <ac:grpSpMk id="17" creationId="{1A0B15E1-3F90-45D0-B7D0-20B413BE32F3}"/>
          </ac:grpSpMkLst>
        </pc:grpChg>
        <pc:grpChg chg="add del mod">
          <ac:chgData name="Umholtz, Jake" userId="68c67aa9-53c4-4aab-a03d-c07f0aadf984" providerId="ADAL" clId="{A9556D7F-CC22-4AB2-A243-FC3401A6D166}" dt="2022-08-18T22:59:20.301" v="9433" actId="478"/>
          <ac:grpSpMkLst>
            <pc:docMk/>
            <pc:sldMk cId="1714877050" sldId="367"/>
            <ac:grpSpMk id="22" creationId="{9091B26D-21A9-4D45-BBCF-0345BC9FAB3B}"/>
          </ac:grpSpMkLst>
        </pc:grpChg>
        <pc:grpChg chg="add del mod">
          <ac:chgData name="Umholtz, Jake" userId="68c67aa9-53c4-4aab-a03d-c07f0aadf984" providerId="ADAL" clId="{A9556D7F-CC22-4AB2-A243-FC3401A6D166}" dt="2022-08-18T22:59:26.492" v="9435" actId="478"/>
          <ac:grpSpMkLst>
            <pc:docMk/>
            <pc:sldMk cId="1714877050" sldId="367"/>
            <ac:grpSpMk id="34" creationId="{17433531-0CBA-495C-BE13-7B452E4C870F}"/>
          </ac:grpSpMkLst>
        </pc:grpChg>
        <pc:grpChg chg="add del mod">
          <ac:chgData name="Umholtz, Jake" userId="68c67aa9-53c4-4aab-a03d-c07f0aadf984" providerId="ADAL" clId="{A9556D7F-CC22-4AB2-A243-FC3401A6D166}" dt="2022-08-18T22:59:36.861" v="9438" actId="478"/>
          <ac:grpSpMkLst>
            <pc:docMk/>
            <pc:sldMk cId="1714877050" sldId="367"/>
            <ac:grpSpMk id="40" creationId="{28620FE9-36D7-474C-B486-8E8BD42922CD}"/>
          </ac:grpSpMkLst>
        </pc:grpChg>
        <pc:grpChg chg="add del mod ord">
          <ac:chgData name="Umholtz, Jake" userId="68c67aa9-53c4-4aab-a03d-c07f0aadf984" providerId="ADAL" clId="{A9556D7F-CC22-4AB2-A243-FC3401A6D166}" dt="2022-08-18T23:00:59.280" v="9451" actId="478"/>
          <ac:grpSpMkLst>
            <pc:docMk/>
            <pc:sldMk cId="1714877050" sldId="367"/>
            <ac:grpSpMk id="43" creationId="{04EC40AF-DD54-4FE3-82CD-CFC5AF087CAA}"/>
          </ac:grpSpMkLst>
        </pc:grpChg>
        <pc:grpChg chg="add mod">
          <ac:chgData name="Umholtz, Jake" userId="68c67aa9-53c4-4aab-a03d-c07f0aadf984" providerId="ADAL" clId="{A9556D7F-CC22-4AB2-A243-FC3401A6D166}" dt="2022-08-18T23:02:23.889" v="9462" actId="207"/>
          <ac:grpSpMkLst>
            <pc:docMk/>
            <pc:sldMk cId="1714877050" sldId="367"/>
            <ac:grpSpMk id="46" creationId="{523B2FCB-A082-4990-9832-E38E1AA4DE1E}"/>
          </ac:grpSpMkLst>
        </pc:grpChg>
        <pc:grpChg chg="add del mod">
          <ac:chgData name="Umholtz, Jake" userId="68c67aa9-53c4-4aab-a03d-c07f0aadf984" providerId="ADAL" clId="{A9556D7F-CC22-4AB2-A243-FC3401A6D166}" dt="2022-08-18T23:01:31.590" v="9457"/>
          <ac:grpSpMkLst>
            <pc:docMk/>
            <pc:sldMk cId="1714877050" sldId="367"/>
            <ac:grpSpMk id="49" creationId="{028DCBFE-6A5D-4669-A18A-289CEBF526F3}"/>
          </ac:grpSpMkLst>
        </pc:grpChg>
        <pc:grpChg chg="add mod">
          <ac:chgData name="Umholtz, Jake" userId="68c67aa9-53c4-4aab-a03d-c07f0aadf984" providerId="ADAL" clId="{A9556D7F-CC22-4AB2-A243-FC3401A6D166}" dt="2022-08-18T23:02:23.889" v="9462" actId="207"/>
          <ac:grpSpMkLst>
            <pc:docMk/>
            <pc:sldMk cId="1714877050" sldId="367"/>
            <ac:grpSpMk id="54" creationId="{DED01470-17A4-4620-81E3-90DDF02327FD}"/>
          </ac:grpSpMkLst>
        </pc:grpChg>
        <pc:grpChg chg="add mod">
          <ac:chgData name="Umholtz, Jake" userId="68c67aa9-53c4-4aab-a03d-c07f0aadf984" providerId="ADAL" clId="{A9556D7F-CC22-4AB2-A243-FC3401A6D166}" dt="2022-08-18T23:02:23.889" v="9462" actId="207"/>
          <ac:grpSpMkLst>
            <pc:docMk/>
            <pc:sldMk cId="1714877050" sldId="367"/>
            <ac:grpSpMk id="59" creationId="{933E759B-CB04-4E68-8FFA-7B5B90D44643}"/>
          </ac:grpSpMkLst>
        </pc:grpChg>
      </pc:sldChg>
      <pc:sldChg chg="addSp delSp modSp del mod ord modNotes modNotesTx">
        <pc:chgData name="Umholtz, Jake" userId="68c67aa9-53c4-4aab-a03d-c07f0aadf984" providerId="ADAL" clId="{A9556D7F-CC22-4AB2-A243-FC3401A6D166}" dt="2022-08-18T16:02:37.758" v="5728" actId="47"/>
        <pc:sldMkLst>
          <pc:docMk/>
          <pc:sldMk cId="2204339894" sldId="408"/>
        </pc:sldMkLst>
        <pc:spChg chg="mod">
          <ac:chgData name="Umholtz, Jake" userId="68c67aa9-53c4-4aab-a03d-c07f0aadf984" providerId="ADAL" clId="{A9556D7F-CC22-4AB2-A243-FC3401A6D166}" dt="2022-08-18T13:45:17.548" v="4760" actId="1076"/>
          <ac:spMkLst>
            <pc:docMk/>
            <pc:sldMk cId="2204339894" sldId="408"/>
            <ac:spMk id="2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8T13:21:15.006" v="4441" actId="478"/>
          <ac:spMkLst>
            <pc:docMk/>
            <pc:sldMk cId="2204339894" sldId="408"/>
            <ac:spMk id="3" creationId="{87C298DB-8577-4ECD-903A-25D16E92F0F0}"/>
          </ac:spMkLst>
        </pc:spChg>
        <pc:spChg chg="add del mod">
          <ac:chgData name="Umholtz, Jake" userId="68c67aa9-53c4-4aab-a03d-c07f0aadf984" providerId="ADAL" clId="{A9556D7F-CC22-4AB2-A243-FC3401A6D166}" dt="2022-08-17T23:59:17.565" v="2914" actId="21"/>
          <ac:spMkLst>
            <pc:docMk/>
            <pc:sldMk cId="2204339894" sldId="408"/>
            <ac:spMk id="3" creationId="{D0AE2085-98AC-4900-83F7-3E8EA8618B13}"/>
          </ac:spMkLst>
        </pc:spChg>
        <pc:spChg chg="add mod">
          <ac:chgData name="Umholtz, Jake" userId="68c67aa9-53c4-4aab-a03d-c07f0aadf984" providerId="ADAL" clId="{A9556D7F-CC22-4AB2-A243-FC3401A6D166}" dt="2022-08-18T13:50:29.978" v="5140" actId="20577"/>
          <ac:spMkLst>
            <pc:docMk/>
            <pc:sldMk cId="2204339894" sldId="408"/>
            <ac:spMk id="4" creationId="{7DEE899B-F75F-4EE5-90EA-D3F49EAB01C8}"/>
          </ac:spMkLst>
        </pc:spChg>
      </pc:sldChg>
      <pc:sldChg chg="addSp delSp modSp del mod">
        <pc:chgData name="Umholtz, Jake" userId="68c67aa9-53c4-4aab-a03d-c07f0aadf984" providerId="ADAL" clId="{A9556D7F-CC22-4AB2-A243-FC3401A6D166}" dt="2022-08-18T18:04:47.216" v="6343" actId="47"/>
        <pc:sldMkLst>
          <pc:docMk/>
          <pc:sldMk cId="1485223179" sldId="436"/>
        </pc:sldMkLst>
        <pc:spChg chg="add del mod">
          <ac:chgData name="Umholtz, Jake" userId="68c67aa9-53c4-4aab-a03d-c07f0aadf984" providerId="ADAL" clId="{A9556D7F-CC22-4AB2-A243-FC3401A6D166}" dt="2022-08-18T16:20:01.104" v="5883" actId="478"/>
          <ac:spMkLst>
            <pc:docMk/>
            <pc:sldMk cId="1485223179" sldId="436"/>
            <ac:spMk id="8" creationId="{E272CBB8-2769-4545-B549-00B897A098C5}"/>
          </ac:spMkLst>
        </pc:spChg>
        <pc:picChg chg="add mod">
          <ac:chgData name="Umholtz, Jake" userId="68c67aa9-53c4-4aab-a03d-c07f0aadf984" providerId="ADAL" clId="{A9556D7F-CC22-4AB2-A243-FC3401A6D166}" dt="2022-08-18T16:20:17.512" v="5886" actId="1076"/>
          <ac:picMkLst>
            <pc:docMk/>
            <pc:sldMk cId="1485223179" sldId="436"/>
            <ac:picMk id="4" creationId="{23F709F7-E7F6-4C9F-A786-7C9CB6D933E9}"/>
          </ac:picMkLst>
        </pc:picChg>
        <pc:picChg chg="del">
          <ac:chgData name="Umholtz, Jake" userId="68c67aa9-53c4-4aab-a03d-c07f0aadf984" providerId="ADAL" clId="{A9556D7F-CC22-4AB2-A243-FC3401A6D166}" dt="2022-08-18T16:19:57.729" v="5881" actId="478"/>
          <ac:picMkLst>
            <pc:docMk/>
            <pc:sldMk cId="1485223179" sldId="436"/>
            <ac:picMk id="10" creationId="{9D5C5EF4-9CCA-4665-825B-F674776CB05F}"/>
          </ac:picMkLst>
        </pc:picChg>
      </pc:sldChg>
      <pc:sldChg chg="del">
        <pc:chgData name="Umholtz, Jake" userId="68c67aa9-53c4-4aab-a03d-c07f0aadf984" providerId="ADAL" clId="{A9556D7F-CC22-4AB2-A243-FC3401A6D166}" dt="2022-08-17T18:57:08.810" v="0" actId="2696"/>
        <pc:sldMkLst>
          <pc:docMk/>
          <pc:sldMk cId="1103638315" sldId="437"/>
        </pc:sldMkLst>
      </pc:sldChg>
      <pc:sldChg chg="ord">
        <pc:chgData name="Umholtz, Jake" userId="68c67aa9-53c4-4aab-a03d-c07f0aadf984" providerId="ADAL" clId="{A9556D7F-CC22-4AB2-A243-FC3401A6D166}" dt="2022-08-18T13:58:21.513" v="5376"/>
        <pc:sldMkLst>
          <pc:docMk/>
          <pc:sldMk cId="889210208" sldId="440"/>
        </pc:sldMkLst>
      </pc:sldChg>
      <pc:sldChg chg="modSp add del mod">
        <pc:chgData name="Umholtz, Jake" userId="68c67aa9-53c4-4aab-a03d-c07f0aadf984" providerId="ADAL" clId="{A9556D7F-CC22-4AB2-A243-FC3401A6D166}" dt="2022-08-18T18:22:54.067" v="6491" actId="47"/>
        <pc:sldMkLst>
          <pc:docMk/>
          <pc:sldMk cId="2992221018" sldId="441"/>
        </pc:sldMkLst>
        <pc:spChg chg="mod">
          <ac:chgData name="Umholtz, Jake" userId="68c67aa9-53c4-4aab-a03d-c07f0aadf984" providerId="ADAL" clId="{A9556D7F-CC22-4AB2-A243-FC3401A6D166}" dt="2022-08-18T18:22:26.666" v="6489" actId="27636"/>
          <ac:spMkLst>
            <pc:docMk/>
            <pc:sldMk cId="2992221018" sldId="441"/>
            <ac:spMk id="37" creationId="{00000000-0000-0000-0000-000000000000}"/>
          </ac:spMkLst>
        </pc:spChg>
      </pc:sldChg>
      <pc:sldChg chg="addSp delSp modSp add del mod ord modNotesTx">
        <pc:chgData name="Umholtz, Jake" userId="68c67aa9-53c4-4aab-a03d-c07f0aadf984" providerId="ADAL" clId="{A9556D7F-CC22-4AB2-A243-FC3401A6D166}" dt="2022-08-18T19:01:46.106" v="7546" actId="47"/>
        <pc:sldMkLst>
          <pc:docMk/>
          <pc:sldMk cId="1825728422" sldId="450"/>
        </pc:sldMkLst>
        <pc:spChg chg="mod">
          <ac:chgData name="Umholtz, Jake" userId="68c67aa9-53c4-4aab-a03d-c07f0aadf984" providerId="ADAL" clId="{A9556D7F-CC22-4AB2-A243-FC3401A6D166}" dt="2022-08-17T19:27:49.868" v="874" actId="1076"/>
          <ac:spMkLst>
            <pc:docMk/>
            <pc:sldMk cId="1825728422" sldId="450"/>
            <ac:spMk id="2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7T19:27:12.051" v="806" actId="478"/>
          <ac:spMkLst>
            <pc:docMk/>
            <pc:sldMk cId="1825728422" sldId="450"/>
            <ac:spMk id="3" creationId="{D0AE2085-98AC-4900-83F7-3E8EA8618B13}"/>
          </ac:spMkLst>
        </pc:spChg>
        <pc:spChg chg="add del mod">
          <ac:chgData name="Umholtz, Jake" userId="68c67aa9-53c4-4aab-a03d-c07f0aadf984" providerId="ADAL" clId="{A9556D7F-CC22-4AB2-A243-FC3401A6D166}" dt="2022-08-17T19:27:08.924" v="805" actId="478"/>
          <ac:spMkLst>
            <pc:docMk/>
            <pc:sldMk cId="1825728422" sldId="450"/>
            <ac:spMk id="4" creationId="{A5AEC714-D61E-4E9D-BC4F-E2285A60ADD1}"/>
          </ac:spMkLst>
        </pc:spChg>
        <pc:spChg chg="add mod">
          <ac:chgData name="Umholtz, Jake" userId="68c67aa9-53c4-4aab-a03d-c07f0aadf984" providerId="ADAL" clId="{A9556D7F-CC22-4AB2-A243-FC3401A6D166}" dt="2022-08-17T19:27:24.322" v="855" actId="20577"/>
          <ac:spMkLst>
            <pc:docMk/>
            <pc:sldMk cId="1825728422" sldId="450"/>
            <ac:spMk id="5" creationId="{8375EA0C-01E5-4FBD-8C44-C7E23D61811A}"/>
          </ac:spMkLst>
        </pc:spChg>
        <pc:spChg chg="add mod">
          <ac:chgData name="Umholtz, Jake" userId="68c67aa9-53c4-4aab-a03d-c07f0aadf984" providerId="ADAL" clId="{A9556D7F-CC22-4AB2-A243-FC3401A6D166}" dt="2022-08-17T19:28:12.299" v="875" actId="1076"/>
          <ac:spMkLst>
            <pc:docMk/>
            <pc:sldMk cId="1825728422" sldId="450"/>
            <ac:spMk id="6" creationId="{51C33D71-2951-4AD8-B941-6C153073247C}"/>
          </ac:spMkLst>
        </pc:spChg>
        <pc:spChg chg="add mod">
          <ac:chgData name="Umholtz, Jake" userId="68c67aa9-53c4-4aab-a03d-c07f0aadf984" providerId="ADAL" clId="{A9556D7F-CC22-4AB2-A243-FC3401A6D166}" dt="2022-08-17T19:27:32.594" v="862" actId="20577"/>
          <ac:spMkLst>
            <pc:docMk/>
            <pc:sldMk cId="1825728422" sldId="450"/>
            <ac:spMk id="7" creationId="{3BDC8805-382F-4B4C-9A52-119A8B8C8ED3}"/>
          </ac:spMkLst>
        </pc:spChg>
      </pc:sldChg>
      <pc:sldChg chg="addSp modSp mod modNotesTx">
        <pc:chgData name="Umholtz, Jake" userId="68c67aa9-53c4-4aab-a03d-c07f0aadf984" providerId="ADAL" clId="{A9556D7F-CC22-4AB2-A243-FC3401A6D166}" dt="2022-08-17T23:19:51.844" v="1379" actId="20577"/>
        <pc:sldMkLst>
          <pc:docMk/>
          <pc:sldMk cId="2863314461" sldId="451"/>
        </pc:sldMkLst>
        <pc:picChg chg="add mod">
          <ac:chgData name="Umholtz, Jake" userId="68c67aa9-53c4-4aab-a03d-c07f0aadf984" providerId="ADAL" clId="{A9556D7F-CC22-4AB2-A243-FC3401A6D166}" dt="2022-08-17T23:19:44.971" v="1378" actId="1076"/>
          <ac:picMkLst>
            <pc:docMk/>
            <pc:sldMk cId="2863314461" sldId="451"/>
            <ac:picMk id="8" creationId="{B0D375E8-1F3E-4C05-A81C-D37E339FC77D}"/>
          </ac:picMkLst>
        </pc:picChg>
      </pc:sldChg>
      <pc:sldChg chg="modSp mod ord modNotesTx">
        <pc:chgData name="Umholtz, Jake" userId="68c67aa9-53c4-4aab-a03d-c07f0aadf984" providerId="ADAL" clId="{A9556D7F-CC22-4AB2-A243-FC3401A6D166}" dt="2022-08-18T00:10:01.493" v="3777" actId="20577"/>
        <pc:sldMkLst>
          <pc:docMk/>
          <pc:sldMk cId="3619711413" sldId="452"/>
        </pc:sldMkLst>
        <pc:spChg chg="mod">
          <ac:chgData name="Umholtz, Jake" userId="68c67aa9-53c4-4aab-a03d-c07f0aadf984" providerId="ADAL" clId="{A9556D7F-CC22-4AB2-A243-FC3401A6D166}" dt="2022-08-17T23:27:38.965" v="1585" actId="20577"/>
          <ac:spMkLst>
            <pc:docMk/>
            <pc:sldMk cId="3619711413" sldId="452"/>
            <ac:spMk id="5" creationId="{139D7704-6031-3EF0-D2DC-25A108321A72}"/>
          </ac:spMkLst>
        </pc:spChg>
      </pc:sldChg>
      <pc:sldChg chg="addSp delSp modSp mod">
        <pc:chgData name="Umholtz, Jake" userId="68c67aa9-53c4-4aab-a03d-c07f0aadf984" providerId="ADAL" clId="{A9556D7F-CC22-4AB2-A243-FC3401A6D166}" dt="2022-08-18T23:17:08.098" v="10087" actId="6549"/>
        <pc:sldMkLst>
          <pc:docMk/>
          <pc:sldMk cId="870859583" sldId="453"/>
        </pc:sldMkLst>
        <pc:spChg chg="mod">
          <ac:chgData name="Umholtz, Jake" userId="68c67aa9-53c4-4aab-a03d-c07f0aadf984" providerId="ADAL" clId="{A9556D7F-CC22-4AB2-A243-FC3401A6D166}" dt="2022-08-18T23:17:08.098" v="10087" actId="6549"/>
          <ac:spMkLst>
            <pc:docMk/>
            <pc:sldMk cId="870859583" sldId="453"/>
            <ac:spMk id="9" creationId="{DE9801A4-F168-4EA9-AD72-E02433E36F0A}"/>
          </ac:spMkLst>
        </pc:spChg>
        <pc:spChg chg="mod">
          <ac:chgData name="Umholtz, Jake" userId="68c67aa9-53c4-4aab-a03d-c07f0aadf984" providerId="ADAL" clId="{A9556D7F-CC22-4AB2-A243-FC3401A6D166}" dt="2022-08-18T23:16:37.260" v="9992" actId="21"/>
          <ac:spMkLst>
            <pc:docMk/>
            <pc:sldMk cId="870859583" sldId="453"/>
            <ac:spMk id="11" creationId="{D72E9ADD-4202-A031-8B6D-6DC83476C383}"/>
          </ac:spMkLst>
        </pc:spChg>
        <pc:spChg chg="add mod">
          <ac:chgData name="Umholtz, Jake" userId="68c67aa9-53c4-4aab-a03d-c07f0aadf984" providerId="ADAL" clId="{A9556D7F-CC22-4AB2-A243-FC3401A6D166}" dt="2022-08-18T18:54:54.678" v="7217" actId="20577"/>
          <ac:spMkLst>
            <pc:docMk/>
            <pc:sldMk cId="870859583" sldId="453"/>
            <ac:spMk id="12" creationId="{A6E9B7A1-C574-49CA-B01F-5266E2420B56}"/>
          </ac:spMkLst>
        </pc:spChg>
        <pc:spChg chg="mod topLvl">
          <ac:chgData name="Umholtz, Jake" userId="68c67aa9-53c4-4aab-a03d-c07f0aadf984" providerId="ADAL" clId="{A9556D7F-CC22-4AB2-A243-FC3401A6D166}" dt="2022-08-18T21:18:17.366" v="8569" actId="165"/>
          <ac:spMkLst>
            <pc:docMk/>
            <pc:sldMk cId="870859583" sldId="453"/>
            <ac:spMk id="16" creationId="{05EC2B1B-03B5-4113-AC99-AB36C19FD5BB}"/>
          </ac:spMkLst>
        </pc:spChg>
        <pc:spChg chg="mod topLvl">
          <ac:chgData name="Umholtz, Jake" userId="68c67aa9-53c4-4aab-a03d-c07f0aadf984" providerId="ADAL" clId="{A9556D7F-CC22-4AB2-A243-FC3401A6D166}" dt="2022-08-18T21:18:33.040" v="8572" actId="207"/>
          <ac:spMkLst>
            <pc:docMk/>
            <pc:sldMk cId="870859583" sldId="453"/>
            <ac:spMk id="17" creationId="{C2764721-27FB-4523-84C1-1EB350614384}"/>
          </ac:spMkLst>
        </pc:spChg>
        <pc:spChg chg="mod topLvl">
          <ac:chgData name="Umholtz, Jake" userId="68c67aa9-53c4-4aab-a03d-c07f0aadf984" providerId="ADAL" clId="{A9556D7F-CC22-4AB2-A243-FC3401A6D166}" dt="2022-08-18T21:19:04.558" v="8577" actId="207"/>
          <ac:spMkLst>
            <pc:docMk/>
            <pc:sldMk cId="870859583" sldId="453"/>
            <ac:spMk id="18" creationId="{D3F8529D-82F4-4F37-8133-A16B18856036}"/>
          </ac:spMkLst>
        </pc:spChg>
        <pc:spChg chg="mod topLvl">
          <ac:chgData name="Umholtz, Jake" userId="68c67aa9-53c4-4aab-a03d-c07f0aadf984" providerId="ADAL" clId="{A9556D7F-CC22-4AB2-A243-FC3401A6D166}" dt="2022-08-18T21:18:17.366" v="8569" actId="165"/>
          <ac:spMkLst>
            <pc:docMk/>
            <pc:sldMk cId="870859583" sldId="453"/>
            <ac:spMk id="19" creationId="{2643D6B3-3793-4EFE-B28F-CF37BA58EFF1}"/>
          </ac:spMkLst>
        </pc:spChg>
        <pc:grpChg chg="add del mod">
          <ac:chgData name="Umholtz, Jake" userId="68c67aa9-53c4-4aab-a03d-c07f0aadf984" providerId="ADAL" clId="{A9556D7F-CC22-4AB2-A243-FC3401A6D166}" dt="2022-08-18T21:18:17.366" v="8569" actId="165"/>
          <ac:grpSpMkLst>
            <pc:docMk/>
            <pc:sldMk cId="870859583" sldId="453"/>
            <ac:grpSpMk id="15" creationId="{7DC69457-F74F-4E2B-A6EA-C762C1D59993}"/>
          </ac:grpSpMkLst>
        </pc:grpChg>
      </pc:sldChg>
      <pc:sldChg chg="addSp delSp modSp add del mod ord modNotes modNotesTx">
        <pc:chgData name="Umholtz, Jake" userId="68c67aa9-53c4-4aab-a03d-c07f0aadf984" providerId="ADAL" clId="{A9556D7F-CC22-4AB2-A243-FC3401A6D166}" dt="2022-08-18T16:01:58.291" v="5727" actId="47"/>
        <pc:sldMkLst>
          <pc:docMk/>
          <pc:sldMk cId="1744963524" sldId="454"/>
        </pc:sldMkLst>
        <pc:spChg chg="mod">
          <ac:chgData name="Umholtz, Jake" userId="68c67aa9-53c4-4aab-a03d-c07f0aadf984" providerId="ADAL" clId="{A9556D7F-CC22-4AB2-A243-FC3401A6D166}" dt="2022-08-18T13:38:37.461" v="4616" actId="20577"/>
          <ac:spMkLst>
            <pc:docMk/>
            <pc:sldMk cId="1744963524" sldId="454"/>
            <ac:spMk id="2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7T23:46:04.508" v="2676"/>
          <ac:spMkLst>
            <pc:docMk/>
            <pc:sldMk cId="1744963524" sldId="454"/>
            <ac:spMk id="3" creationId="{D0AE2085-98AC-4900-83F7-3E8EA8618B13}"/>
          </ac:spMkLst>
        </pc:spChg>
        <pc:spChg chg="add del mod">
          <ac:chgData name="Umholtz, Jake" userId="68c67aa9-53c4-4aab-a03d-c07f0aadf984" providerId="ADAL" clId="{A9556D7F-CC22-4AB2-A243-FC3401A6D166}" dt="2022-08-18T00:00:23.439" v="3039" actId="478"/>
          <ac:spMkLst>
            <pc:docMk/>
            <pc:sldMk cId="1744963524" sldId="454"/>
            <ac:spMk id="4" creationId="{C860ACBE-E79D-43FB-8901-031566E828E6}"/>
          </ac:spMkLst>
        </pc:spChg>
        <pc:spChg chg="add mod">
          <ac:chgData name="Umholtz, Jake" userId="68c67aa9-53c4-4aab-a03d-c07f0aadf984" providerId="ADAL" clId="{A9556D7F-CC22-4AB2-A243-FC3401A6D166}" dt="2022-08-18T00:07:44.807" v="3658" actId="1076"/>
          <ac:spMkLst>
            <pc:docMk/>
            <pc:sldMk cId="1744963524" sldId="454"/>
            <ac:spMk id="5" creationId="{6CBFA9FE-3F28-45A1-A7F3-78B3D5C4BF20}"/>
          </ac:spMkLst>
        </pc:spChg>
      </pc:sldChg>
      <pc:sldChg chg="modSp add del mod ord modNotes modNotesTx">
        <pc:chgData name="Umholtz, Jake" userId="68c67aa9-53c4-4aab-a03d-c07f0aadf984" providerId="ADAL" clId="{A9556D7F-CC22-4AB2-A243-FC3401A6D166}" dt="2022-08-18T16:01:56.832" v="5726" actId="47"/>
        <pc:sldMkLst>
          <pc:docMk/>
          <pc:sldMk cId="3421264961" sldId="455"/>
        </pc:sldMkLst>
        <pc:spChg chg="mod">
          <ac:chgData name="Umholtz, Jake" userId="68c67aa9-53c4-4aab-a03d-c07f0aadf984" providerId="ADAL" clId="{A9556D7F-CC22-4AB2-A243-FC3401A6D166}" dt="2022-08-18T00:22:13.314" v="3990" actId="20577"/>
          <ac:spMkLst>
            <pc:docMk/>
            <pc:sldMk cId="3421264961" sldId="455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00:24:59.437" v="4052" actId="20577"/>
          <ac:spMkLst>
            <pc:docMk/>
            <pc:sldMk cId="3421264961" sldId="455"/>
            <ac:spMk id="5" creationId="{6CBFA9FE-3F28-45A1-A7F3-78B3D5C4BF20}"/>
          </ac:spMkLst>
        </pc:spChg>
      </pc:sldChg>
      <pc:sldChg chg="modSp add mod modNotesTx">
        <pc:chgData name="Umholtz, Jake" userId="68c67aa9-53c4-4aab-a03d-c07f0aadf984" providerId="ADAL" clId="{A9556D7F-CC22-4AB2-A243-FC3401A6D166}" dt="2022-08-18T14:05:18.287" v="5638" actId="15"/>
        <pc:sldMkLst>
          <pc:docMk/>
          <pc:sldMk cId="962843798" sldId="456"/>
        </pc:sldMkLst>
        <pc:spChg chg="mod">
          <ac:chgData name="Umholtz, Jake" userId="68c67aa9-53c4-4aab-a03d-c07f0aadf984" providerId="ADAL" clId="{A9556D7F-CC22-4AB2-A243-FC3401A6D166}" dt="2022-08-18T14:03:45.048" v="5579" actId="20577"/>
          <ac:spMkLst>
            <pc:docMk/>
            <pc:sldMk cId="962843798" sldId="456"/>
            <ac:spMk id="5" creationId="{139D7704-6031-3EF0-D2DC-25A108321A72}"/>
          </ac:spMkLst>
        </pc:spChg>
        <pc:spChg chg="mod">
          <ac:chgData name="Umholtz, Jake" userId="68c67aa9-53c4-4aab-a03d-c07f0aadf984" providerId="ADAL" clId="{A9556D7F-CC22-4AB2-A243-FC3401A6D166}" dt="2022-08-18T14:05:14.260" v="5625" actId="20577"/>
          <ac:spMkLst>
            <pc:docMk/>
            <pc:sldMk cId="962843798" sldId="456"/>
            <ac:spMk id="7" creationId="{61ADFE62-F855-B647-FE07-D2335A9A1036}"/>
          </ac:spMkLst>
        </pc:spChg>
      </pc:sldChg>
      <pc:sldChg chg="addSp delSp modSp add del mod modNotes modNotesTx">
        <pc:chgData name="Umholtz, Jake" userId="68c67aa9-53c4-4aab-a03d-c07f0aadf984" providerId="ADAL" clId="{A9556D7F-CC22-4AB2-A243-FC3401A6D166}" dt="2022-08-19T15:26:35.080" v="10899" actId="47"/>
        <pc:sldMkLst>
          <pc:docMk/>
          <pc:sldMk cId="763584098" sldId="457"/>
        </pc:sldMkLst>
        <pc:spChg chg="del mod">
          <ac:chgData name="Umholtz, Jake" userId="68c67aa9-53c4-4aab-a03d-c07f0aadf984" providerId="ADAL" clId="{A9556D7F-CC22-4AB2-A243-FC3401A6D166}" dt="2022-08-18T23:19:00.894" v="10263" actId="478"/>
          <ac:spMkLst>
            <pc:docMk/>
            <pc:sldMk cId="763584098" sldId="457"/>
            <ac:spMk id="5" creationId="{139D7704-6031-3EF0-D2DC-25A108321A72}"/>
          </ac:spMkLst>
        </pc:spChg>
        <pc:spChg chg="mod topLvl">
          <ac:chgData name="Umholtz, Jake" userId="68c67aa9-53c4-4aab-a03d-c07f0aadf984" providerId="ADAL" clId="{A9556D7F-CC22-4AB2-A243-FC3401A6D166}" dt="2022-08-18T21:20:28.834" v="8592" actId="164"/>
          <ac:spMkLst>
            <pc:docMk/>
            <pc:sldMk cId="763584098" sldId="457"/>
            <ac:spMk id="6" creationId="{997529BE-13E3-480F-A75E-C9C690D4FF10}"/>
          </ac:spMkLst>
        </pc:spChg>
        <pc:spChg chg="mod topLvl">
          <ac:chgData name="Umholtz, Jake" userId="68c67aa9-53c4-4aab-a03d-c07f0aadf984" providerId="ADAL" clId="{A9556D7F-CC22-4AB2-A243-FC3401A6D166}" dt="2022-08-18T21:20:28.834" v="8592" actId="164"/>
          <ac:spMkLst>
            <pc:docMk/>
            <pc:sldMk cId="763584098" sldId="457"/>
            <ac:spMk id="7" creationId="{E442AB67-44A7-45FC-8F3E-38CFE62E2548}"/>
          </ac:spMkLst>
        </pc:spChg>
        <pc:spChg chg="mod topLvl">
          <ac:chgData name="Umholtz, Jake" userId="68c67aa9-53c4-4aab-a03d-c07f0aadf984" providerId="ADAL" clId="{A9556D7F-CC22-4AB2-A243-FC3401A6D166}" dt="2022-08-18T21:20:28.834" v="8592" actId="164"/>
          <ac:spMkLst>
            <pc:docMk/>
            <pc:sldMk cId="763584098" sldId="457"/>
            <ac:spMk id="8" creationId="{9061526E-6527-48F2-9497-7B82E0FC1CC6}"/>
          </ac:spMkLst>
        </pc:spChg>
        <pc:spChg chg="mod topLvl">
          <ac:chgData name="Umholtz, Jake" userId="68c67aa9-53c4-4aab-a03d-c07f0aadf984" providerId="ADAL" clId="{A9556D7F-CC22-4AB2-A243-FC3401A6D166}" dt="2022-08-18T21:20:28.834" v="8592" actId="164"/>
          <ac:spMkLst>
            <pc:docMk/>
            <pc:sldMk cId="763584098" sldId="457"/>
            <ac:spMk id="9" creationId="{A2F6C574-CF57-4E54-839C-E621EC0D184C}"/>
          </ac:spMkLst>
        </pc:spChg>
        <pc:spChg chg="add mod">
          <ac:chgData name="Umholtz, Jake" userId="68c67aa9-53c4-4aab-a03d-c07f0aadf984" providerId="ADAL" clId="{A9556D7F-CC22-4AB2-A243-FC3401A6D166}" dt="2022-08-18T23:19:26.648" v="10277"/>
          <ac:spMkLst>
            <pc:docMk/>
            <pc:sldMk cId="763584098" sldId="457"/>
            <ac:spMk id="10" creationId="{CC70601F-3A40-46F8-94D9-B4436AAA6DD1}"/>
          </ac:spMkLst>
        </pc:spChg>
        <pc:spChg chg="add mod">
          <ac:chgData name="Umholtz, Jake" userId="68c67aa9-53c4-4aab-a03d-c07f0aadf984" providerId="ADAL" clId="{A9556D7F-CC22-4AB2-A243-FC3401A6D166}" dt="2022-08-18T23:18:55.965" v="10261" actId="20577"/>
          <ac:spMkLst>
            <pc:docMk/>
            <pc:sldMk cId="763584098" sldId="457"/>
            <ac:spMk id="11" creationId="{775F68EE-3B99-4EA8-8169-66F9F3751486}"/>
          </ac:spMkLst>
        </pc:spChg>
        <pc:spChg chg="add del mod">
          <ac:chgData name="Umholtz, Jake" userId="68c67aa9-53c4-4aab-a03d-c07f0aadf984" providerId="ADAL" clId="{A9556D7F-CC22-4AB2-A243-FC3401A6D166}" dt="2022-08-18T23:19:11.196" v="10268" actId="478"/>
          <ac:spMkLst>
            <pc:docMk/>
            <pc:sldMk cId="763584098" sldId="457"/>
            <ac:spMk id="13" creationId="{8900F3B0-5938-40DC-83DE-FBE896686BC5}"/>
          </ac:spMkLst>
        </pc:spChg>
        <pc:grpChg chg="add del mod">
          <ac:chgData name="Umholtz, Jake" userId="68c67aa9-53c4-4aab-a03d-c07f0aadf984" providerId="ADAL" clId="{A9556D7F-CC22-4AB2-A243-FC3401A6D166}" dt="2022-08-19T14:59:14.202" v="10289" actId="478"/>
          <ac:grpSpMkLst>
            <pc:docMk/>
            <pc:sldMk cId="763584098" sldId="457"/>
            <ac:grpSpMk id="3" creationId="{4F3F78B2-1E2B-4CBC-AA09-70D6DA7D0E3A}"/>
          </ac:grpSpMkLst>
        </pc:grpChg>
        <pc:grpChg chg="add del mod">
          <ac:chgData name="Umholtz, Jake" userId="68c67aa9-53c4-4aab-a03d-c07f0aadf984" providerId="ADAL" clId="{A9556D7F-CC22-4AB2-A243-FC3401A6D166}" dt="2022-08-18T21:19:38.636" v="8583" actId="165"/>
          <ac:grpSpMkLst>
            <pc:docMk/>
            <pc:sldMk cId="763584098" sldId="457"/>
            <ac:grpSpMk id="4" creationId="{CCD2EB3B-F4F7-4F7C-B243-BE0341F53D73}"/>
          </ac:grpSpMkLst>
        </pc:grpChg>
      </pc:sldChg>
      <pc:sldChg chg="addSp delSp modSp del mod modNotes modNotesTx">
        <pc:chgData name="Umholtz, Jake" userId="68c67aa9-53c4-4aab-a03d-c07f0aadf984" providerId="ADAL" clId="{A9556D7F-CC22-4AB2-A243-FC3401A6D166}" dt="2022-08-18T18:06:46.338" v="6345" actId="47"/>
        <pc:sldMkLst>
          <pc:docMk/>
          <pc:sldMk cId="1714494625" sldId="459"/>
        </pc:sldMkLst>
        <pc:spChg chg="mod">
          <ac:chgData name="Umholtz, Jake" userId="68c67aa9-53c4-4aab-a03d-c07f0aadf984" providerId="ADAL" clId="{A9556D7F-CC22-4AB2-A243-FC3401A6D166}" dt="2022-08-18T16:37:35.457" v="5914" actId="113"/>
          <ac:spMkLst>
            <pc:docMk/>
            <pc:sldMk cId="1714494625" sldId="459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6:38:58.091" v="6024"/>
          <ac:spMkLst>
            <pc:docMk/>
            <pc:sldMk cId="1714494625" sldId="459"/>
            <ac:spMk id="5" creationId="{C2B756BC-73D1-43E2-6FB6-EE9424529B9B}"/>
          </ac:spMkLst>
        </pc:spChg>
        <pc:spChg chg="del mod">
          <ac:chgData name="Umholtz, Jake" userId="68c67aa9-53c4-4aab-a03d-c07f0aadf984" providerId="ADAL" clId="{A9556D7F-CC22-4AB2-A243-FC3401A6D166}" dt="2022-08-18T16:27:21.511" v="5897" actId="931"/>
          <ac:spMkLst>
            <pc:docMk/>
            <pc:sldMk cId="1714494625" sldId="459"/>
            <ac:spMk id="6" creationId="{80FA4E29-28E0-53BB-4DBB-1BADEC688262}"/>
          </ac:spMkLst>
        </pc:spChg>
        <pc:spChg chg="add del mod">
          <ac:chgData name="Umholtz, Jake" userId="68c67aa9-53c4-4aab-a03d-c07f0aadf984" providerId="ADAL" clId="{A9556D7F-CC22-4AB2-A243-FC3401A6D166}" dt="2022-08-18T16:33:13.587" v="5901" actId="931"/>
          <ac:spMkLst>
            <pc:docMk/>
            <pc:sldMk cId="1714494625" sldId="459"/>
            <ac:spMk id="9" creationId="{2B8649F0-99F9-4CC6-B1E1-C8F16F87B135}"/>
          </ac:spMkLst>
        </pc:spChg>
        <pc:picChg chg="add del mod">
          <ac:chgData name="Umholtz, Jake" userId="68c67aa9-53c4-4aab-a03d-c07f0aadf984" providerId="ADAL" clId="{A9556D7F-CC22-4AB2-A243-FC3401A6D166}" dt="2022-08-18T16:27:25.282" v="5900" actId="478"/>
          <ac:picMkLst>
            <pc:docMk/>
            <pc:sldMk cId="1714494625" sldId="459"/>
            <ac:picMk id="7" creationId="{7E40FEC8-DD61-4C64-91BC-5A457509FBC1}"/>
          </ac:picMkLst>
        </pc:picChg>
        <pc:picChg chg="add mod">
          <ac:chgData name="Umholtz, Jake" userId="68c67aa9-53c4-4aab-a03d-c07f0aadf984" providerId="ADAL" clId="{A9556D7F-CC22-4AB2-A243-FC3401A6D166}" dt="2022-08-18T16:33:16.381" v="5902" actId="27614"/>
          <ac:picMkLst>
            <pc:docMk/>
            <pc:sldMk cId="1714494625" sldId="459"/>
            <ac:picMk id="11" creationId="{636F249F-4012-416E-A20C-78C5E839CD99}"/>
          </ac:picMkLst>
        </pc:picChg>
      </pc:sldChg>
      <pc:sldChg chg="modSp mod">
        <pc:chgData name="Umholtz, Jake" userId="68c67aa9-53c4-4aab-a03d-c07f0aadf984" providerId="ADAL" clId="{A9556D7F-CC22-4AB2-A243-FC3401A6D166}" dt="2022-08-18T18:50:21.812" v="7163" actId="255"/>
        <pc:sldMkLst>
          <pc:docMk/>
          <pc:sldMk cId="1073662527" sldId="461"/>
        </pc:sldMkLst>
        <pc:spChg chg="mod">
          <ac:chgData name="Umholtz, Jake" userId="68c67aa9-53c4-4aab-a03d-c07f0aadf984" providerId="ADAL" clId="{A9556D7F-CC22-4AB2-A243-FC3401A6D166}" dt="2022-08-18T18:50:21.812" v="7163" actId="255"/>
          <ac:spMkLst>
            <pc:docMk/>
            <pc:sldMk cId="1073662527" sldId="461"/>
            <ac:spMk id="25" creationId="{CED28989-BF99-8D9C-37B1-75454F2517CD}"/>
          </ac:spMkLst>
        </pc:spChg>
        <pc:spChg chg="mod">
          <ac:chgData name="Umholtz, Jake" userId="68c67aa9-53c4-4aab-a03d-c07f0aadf984" providerId="ADAL" clId="{A9556D7F-CC22-4AB2-A243-FC3401A6D166}" dt="2022-08-18T18:32:42.738" v="6777" actId="2711"/>
          <ac:spMkLst>
            <pc:docMk/>
            <pc:sldMk cId="1073662527" sldId="461"/>
            <ac:spMk id="27" creationId="{5AAE6B28-B99D-0699-78BF-326160205E40}"/>
          </ac:spMkLst>
        </pc:spChg>
      </pc:sldChg>
      <pc:sldChg chg="addSp delSp modSp del mod">
        <pc:chgData name="Umholtz, Jake" userId="68c67aa9-53c4-4aab-a03d-c07f0aadf984" providerId="ADAL" clId="{A9556D7F-CC22-4AB2-A243-FC3401A6D166}" dt="2022-08-19T15:09:09.322" v="10471" actId="47"/>
        <pc:sldMkLst>
          <pc:docMk/>
          <pc:sldMk cId="2745247743" sldId="462"/>
        </pc:sldMkLst>
        <pc:spChg chg="add del mod">
          <ac:chgData name="Umholtz, Jake" userId="68c67aa9-53c4-4aab-a03d-c07f0aadf984" providerId="ADAL" clId="{A9556D7F-CC22-4AB2-A243-FC3401A6D166}" dt="2022-08-19T14:59:03.413" v="10288" actId="478"/>
          <ac:spMkLst>
            <pc:docMk/>
            <pc:sldMk cId="2745247743" sldId="462"/>
            <ac:spMk id="3" creationId="{6AF8C229-196A-47B6-AA9B-1715B311342E}"/>
          </ac:spMkLst>
        </pc:spChg>
        <pc:spChg chg="mod topLvl">
          <ac:chgData name="Umholtz, Jake" userId="68c67aa9-53c4-4aab-a03d-c07f0aadf984" providerId="ADAL" clId="{A9556D7F-CC22-4AB2-A243-FC3401A6D166}" dt="2022-08-18T21:19:11.005" v="8578" actId="165"/>
          <ac:spMkLst>
            <pc:docMk/>
            <pc:sldMk cId="2745247743" sldId="462"/>
            <ac:spMk id="9" creationId="{32836626-D455-409E-B575-2572BD493185}"/>
          </ac:spMkLst>
        </pc:spChg>
        <pc:spChg chg="mod topLvl">
          <ac:chgData name="Umholtz, Jake" userId="68c67aa9-53c4-4aab-a03d-c07f0aadf984" providerId="ADAL" clId="{A9556D7F-CC22-4AB2-A243-FC3401A6D166}" dt="2022-08-18T21:19:27.520" v="8582" actId="207"/>
          <ac:spMkLst>
            <pc:docMk/>
            <pc:sldMk cId="2745247743" sldId="462"/>
            <ac:spMk id="10" creationId="{D98491D6-493B-4DEB-A848-8BA7B7A383F0}"/>
          </ac:spMkLst>
        </pc:spChg>
        <pc:spChg chg="mod topLvl">
          <ac:chgData name="Umholtz, Jake" userId="68c67aa9-53c4-4aab-a03d-c07f0aadf984" providerId="ADAL" clId="{A9556D7F-CC22-4AB2-A243-FC3401A6D166}" dt="2022-08-18T21:19:11.005" v="8578" actId="165"/>
          <ac:spMkLst>
            <pc:docMk/>
            <pc:sldMk cId="2745247743" sldId="462"/>
            <ac:spMk id="11" creationId="{5916510F-FC5C-4FE5-AF63-F02F61C7FA25}"/>
          </ac:spMkLst>
        </pc:spChg>
        <pc:spChg chg="mod topLvl">
          <ac:chgData name="Umholtz, Jake" userId="68c67aa9-53c4-4aab-a03d-c07f0aadf984" providerId="ADAL" clId="{A9556D7F-CC22-4AB2-A243-FC3401A6D166}" dt="2022-08-18T21:19:11.005" v="8578" actId="165"/>
          <ac:spMkLst>
            <pc:docMk/>
            <pc:sldMk cId="2745247743" sldId="462"/>
            <ac:spMk id="12" creationId="{CCC04ACA-F1C7-41A5-AA9C-7A97553DCF4F}"/>
          </ac:spMkLst>
        </pc:spChg>
        <pc:spChg chg="mod">
          <ac:chgData name="Umholtz, Jake" userId="68c67aa9-53c4-4aab-a03d-c07f0aadf984" providerId="ADAL" clId="{A9556D7F-CC22-4AB2-A243-FC3401A6D166}" dt="2022-08-18T23:17:51.749" v="10137" actId="20577"/>
          <ac:spMkLst>
            <pc:docMk/>
            <pc:sldMk cId="2745247743" sldId="462"/>
            <ac:spMk id="16" creationId="{995D9A67-4C0E-F852-56FB-77109CB271BF}"/>
          </ac:spMkLst>
        </pc:spChg>
        <pc:spChg chg="mod">
          <ac:chgData name="Umholtz, Jake" userId="68c67aa9-53c4-4aab-a03d-c07f0aadf984" providerId="ADAL" clId="{A9556D7F-CC22-4AB2-A243-FC3401A6D166}" dt="2022-08-18T23:18:19.021" v="10186" actId="20577"/>
          <ac:spMkLst>
            <pc:docMk/>
            <pc:sldMk cId="2745247743" sldId="462"/>
            <ac:spMk id="6771" creationId="{2641377A-8E40-E4C4-8053-6F4BB38AEF14}"/>
          </ac:spMkLst>
        </pc:spChg>
        <pc:spChg chg="mod">
          <ac:chgData name="Umholtz, Jake" userId="68c67aa9-53c4-4aab-a03d-c07f0aadf984" providerId="ADAL" clId="{A9556D7F-CC22-4AB2-A243-FC3401A6D166}" dt="2022-08-18T19:30:24.202" v="7885" actId="113"/>
          <ac:spMkLst>
            <pc:docMk/>
            <pc:sldMk cId="2745247743" sldId="462"/>
            <ac:spMk id="6773" creationId="{3C0509D5-4993-F641-5EF7-3DC9904CAD14}"/>
          </ac:spMkLst>
        </pc:spChg>
        <pc:spChg chg="mod">
          <ac:chgData name="Umholtz, Jake" userId="68c67aa9-53c4-4aab-a03d-c07f0aadf984" providerId="ADAL" clId="{A9556D7F-CC22-4AB2-A243-FC3401A6D166}" dt="2022-08-19T14:59:02.556" v="10286" actId="1076"/>
          <ac:spMkLst>
            <pc:docMk/>
            <pc:sldMk cId="2745247743" sldId="462"/>
            <ac:spMk id="6775" creationId="{558C9E33-55A2-7333-CA30-E8A181F742DE}"/>
          </ac:spMkLst>
        </pc:spChg>
        <pc:spChg chg="add del mod">
          <ac:chgData name="Umholtz, Jake" userId="68c67aa9-53c4-4aab-a03d-c07f0aadf984" providerId="ADAL" clId="{A9556D7F-CC22-4AB2-A243-FC3401A6D166}" dt="2022-08-19T14:59:03.413" v="10288" actId="478"/>
          <ac:spMkLst>
            <pc:docMk/>
            <pc:sldMk cId="2745247743" sldId="462"/>
            <ac:spMk id="6777" creationId="{0C9D7794-9319-4C3A-A181-79B52B7E509B}"/>
          </ac:spMkLst>
        </pc:spChg>
        <pc:grpChg chg="add del mod">
          <ac:chgData name="Umholtz, Jake" userId="68c67aa9-53c4-4aab-a03d-c07f0aadf984" providerId="ADAL" clId="{A9556D7F-CC22-4AB2-A243-FC3401A6D166}" dt="2022-08-18T21:19:11.005" v="8578" actId="165"/>
          <ac:grpSpMkLst>
            <pc:docMk/>
            <pc:sldMk cId="2745247743" sldId="462"/>
            <ac:grpSpMk id="8" creationId="{58812611-A66A-49D5-99C8-00D07AB1C495}"/>
          </ac:grpSpMkLst>
        </pc:grpChg>
      </pc:sldChg>
      <pc:sldChg chg="addSp delSp modSp add del mod">
        <pc:chgData name="Umholtz, Jake" userId="68c67aa9-53c4-4aab-a03d-c07f0aadf984" providerId="ADAL" clId="{A9556D7F-CC22-4AB2-A243-FC3401A6D166}" dt="2022-08-18T18:45:53.261" v="6875" actId="47"/>
        <pc:sldMkLst>
          <pc:docMk/>
          <pc:sldMk cId="1692647780" sldId="463"/>
        </pc:sldMkLst>
        <pc:spChg chg="add del mod">
          <ac:chgData name="Umholtz, Jake" userId="68c67aa9-53c4-4aab-a03d-c07f0aadf984" providerId="ADAL" clId="{A9556D7F-CC22-4AB2-A243-FC3401A6D166}" dt="2022-08-18T18:44:56.710" v="6864" actId="478"/>
          <ac:spMkLst>
            <pc:docMk/>
            <pc:sldMk cId="1692647780" sldId="463"/>
            <ac:spMk id="3" creationId="{E13DA8B5-866E-4228-AEA6-70D03A32ED23}"/>
          </ac:spMkLst>
        </pc:spChg>
        <pc:spChg chg="add mod">
          <ac:chgData name="Umholtz, Jake" userId="68c67aa9-53c4-4aab-a03d-c07f0aadf984" providerId="ADAL" clId="{A9556D7F-CC22-4AB2-A243-FC3401A6D166}" dt="2022-08-18T18:44:45.821" v="6861" actId="1076"/>
          <ac:spMkLst>
            <pc:docMk/>
            <pc:sldMk cId="1692647780" sldId="463"/>
            <ac:spMk id="6" creationId="{342C9BAC-6195-47EB-98CE-4275787B9F8C}"/>
          </ac:spMkLst>
        </pc:spChg>
        <pc:spChg chg="add del mod">
          <ac:chgData name="Umholtz, Jake" userId="68c67aa9-53c4-4aab-a03d-c07f0aadf984" providerId="ADAL" clId="{A9556D7F-CC22-4AB2-A243-FC3401A6D166}" dt="2022-08-18T18:40:38.993" v="6795" actId="478"/>
          <ac:spMkLst>
            <pc:docMk/>
            <pc:sldMk cId="1692647780" sldId="463"/>
            <ac:spMk id="8" creationId="{67C00657-9310-4D07-BC75-2E72E429B3AB}"/>
          </ac:spMkLst>
        </pc:spChg>
        <pc:spChg chg="mod ord">
          <ac:chgData name="Umholtz, Jake" userId="68c67aa9-53c4-4aab-a03d-c07f0aadf984" providerId="ADAL" clId="{A9556D7F-CC22-4AB2-A243-FC3401A6D166}" dt="2022-08-18T18:39:50.918" v="6787" actId="170"/>
          <ac:spMkLst>
            <pc:docMk/>
            <pc:sldMk cId="1692647780" sldId="463"/>
            <ac:spMk id="14" creationId="{0C5B7B8C-4A1F-8E80-96A3-FD2846E92CB5}"/>
          </ac:spMkLst>
        </pc:spChg>
        <pc:spChg chg="del">
          <ac:chgData name="Umholtz, Jake" userId="68c67aa9-53c4-4aab-a03d-c07f0aadf984" providerId="ADAL" clId="{A9556D7F-CC22-4AB2-A243-FC3401A6D166}" dt="2022-08-18T18:44:49.400" v="6862" actId="478"/>
          <ac:spMkLst>
            <pc:docMk/>
            <pc:sldMk cId="1692647780" sldId="463"/>
            <ac:spMk id="19" creationId="{D3D9100F-0A98-2A90-B7CE-36B0FBAD4CDE}"/>
          </ac:spMkLst>
        </pc:spChg>
        <pc:picChg chg="add mod">
          <ac:chgData name="Umholtz, Jake" userId="68c67aa9-53c4-4aab-a03d-c07f0aadf984" providerId="ADAL" clId="{A9556D7F-CC22-4AB2-A243-FC3401A6D166}" dt="2022-08-18T18:40:47.564" v="6798" actId="1076"/>
          <ac:picMkLst>
            <pc:docMk/>
            <pc:sldMk cId="1692647780" sldId="463"/>
            <ac:picMk id="3" creationId="{5C72D6FB-0718-4B76-8CF7-8527BC4E8E57}"/>
          </ac:picMkLst>
        </pc:picChg>
        <pc:picChg chg="add mod">
          <ac:chgData name="Umholtz, Jake" userId="68c67aa9-53c4-4aab-a03d-c07f0aadf984" providerId="ADAL" clId="{A9556D7F-CC22-4AB2-A243-FC3401A6D166}" dt="2022-08-18T18:44:34.486" v="6859"/>
          <ac:picMkLst>
            <pc:docMk/>
            <pc:sldMk cId="1692647780" sldId="463"/>
            <ac:picMk id="5" creationId="{CF6D7380-A38E-4E76-AC80-0733DFE008D5}"/>
          </ac:picMkLst>
        </pc:picChg>
        <pc:picChg chg="del mod">
          <ac:chgData name="Umholtz, Jake" userId="68c67aa9-53c4-4aab-a03d-c07f0aadf984" providerId="ADAL" clId="{A9556D7F-CC22-4AB2-A243-FC3401A6D166}" dt="2022-08-18T18:44:30.566" v="6858" actId="478"/>
          <ac:picMkLst>
            <pc:docMk/>
            <pc:sldMk cId="1692647780" sldId="463"/>
            <ac:picMk id="7" creationId="{056F111F-84BF-4EC8-A2D9-00BE65972F4D}"/>
          </ac:picMkLst>
        </pc:picChg>
      </pc:sldChg>
      <pc:sldChg chg="add del">
        <pc:chgData name="Umholtz, Jake" userId="68c67aa9-53c4-4aab-a03d-c07f0aadf984" providerId="ADAL" clId="{A9556D7F-CC22-4AB2-A243-FC3401A6D166}" dt="2022-08-18T16:15:34.818" v="5860" actId="2696"/>
        <pc:sldMkLst>
          <pc:docMk/>
          <pc:sldMk cId="3621844571" sldId="463"/>
        </pc:sldMkLst>
      </pc:sldChg>
      <pc:sldChg chg="add del">
        <pc:chgData name="Umholtz, Jake" userId="68c67aa9-53c4-4aab-a03d-c07f0aadf984" providerId="ADAL" clId="{A9556D7F-CC22-4AB2-A243-FC3401A6D166}" dt="2022-08-18T17:56:51.410" v="6287" actId="2696"/>
        <pc:sldMkLst>
          <pc:docMk/>
          <pc:sldMk cId="4243939787" sldId="463"/>
        </pc:sldMkLst>
      </pc:sldChg>
      <pc:sldChg chg="add">
        <pc:chgData name="Umholtz, Jake" userId="68c67aa9-53c4-4aab-a03d-c07f0aadf984" providerId="ADAL" clId="{A9556D7F-CC22-4AB2-A243-FC3401A6D166}" dt="2022-08-18T18:13:35.411" v="6359"/>
        <pc:sldMkLst>
          <pc:docMk/>
          <pc:sldMk cId="352307493" sldId="464"/>
        </pc:sldMkLst>
      </pc:sldChg>
      <pc:sldChg chg="add del modNotes">
        <pc:chgData name="Umholtz, Jake" userId="68c67aa9-53c4-4aab-a03d-c07f0aadf984" providerId="ADAL" clId="{A9556D7F-CC22-4AB2-A243-FC3401A6D166}" dt="2022-08-18T17:57:12.622" v="6288" actId="2696"/>
        <pc:sldMkLst>
          <pc:docMk/>
          <pc:sldMk cId="3031157915" sldId="464"/>
        </pc:sldMkLst>
      </pc:sldChg>
      <pc:sldChg chg="addSp modSp add del mod">
        <pc:chgData name="Umholtz, Jake" userId="68c67aa9-53c4-4aab-a03d-c07f0aadf984" providerId="ADAL" clId="{A9556D7F-CC22-4AB2-A243-FC3401A6D166}" dt="2022-08-18T21:16:28.182" v="8551" actId="47"/>
        <pc:sldMkLst>
          <pc:docMk/>
          <pc:sldMk cId="730016153" sldId="499"/>
        </pc:sldMkLst>
        <pc:spChg chg="mod">
          <ac:chgData name="Umholtz, Jake" userId="68c67aa9-53c4-4aab-a03d-c07f0aadf984" providerId="ADAL" clId="{A9556D7F-CC22-4AB2-A243-FC3401A6D166}" dt="2022-08-18T21:11:52.944" v="8488" actId="164"/>
          <ac:spMkLst>
            <pc:docMk/>
            <pc:sldMk cId="730016153" sldId="499"/>
            <ac:spMk id="1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1:11:52.944" v="8488" actId="164"/>
          <ac:spMkLst>
            <pc:docMk/>
            <pc:sldMk cId="730016153" sldId="499"/>
            <ac:spMk id="15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1:11:52.944" v="8488" actId="164"/>
          <ac:spMkLst>
            <pc:docMk/>
            <pc:sldMk cId="730016153" sldId="499"/>
            <ac:spMk id="16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1:11:52.944" v="8488" actId="164"/>
          <ac:spMkLst>
            <pc:docMk/>
            <pc:sldMk cId="730016153" sldId="499"/>
            <ac:spMk id="17" creationId="{00000000-0000-0000-0000-000000000000}"/>
          </ac:spMkLst>
        </pc:spChg>
        <pc:grpChg chg="add mod">
          <ac:chgData name="Umholtz, Jake" userId="68c67aa9-53c4-4aab-a03d-c07f0aadf984" providerId="ADAL" clId="{A9556D7F-CC22-4AB2-A243-FC3401A6D166}" dt="2022-08-18T21:12:06.270" v="8489" actId="14100"/>
          <ac:grpSpMkLst>
            <pc:docMk/>
            <pc:sldMk cId="730016153" sldId="499"/>
            <ac:grpSpMk id="4" creationId="{79C14FDA-C181-4C8E-956A-ED14C7FB433B}"/>
          </ac:grpSpMkLst>
        </pc:grpChg>
      </pc:sldChg>
      <pc:sldChg chg="addSp delSp modSp add del mod">
        <pc:chgData name="Umholtz, Jake" userId="68c67aa9-53c4-4aab-a03d-c07f0aadf984" providerId="ADAL" clId="{A9556D7F-CC22-4AB2-A243-FC3401A6D166}" dt="2022-08-18T23:05:26.868" v="9569" actId="47"/>
        <pc:sldMkLst>
          <pc:docMk/>
          <pc:sldMk cId="1089199433" sldId="593"/>
        </pc:sldMkLst>
        <pc:spChg chg="mod">
          <ac:chgData name="Umholtz, Jake" userId="68c67aa9-53c4-4aab-a03d-c07f0aadf984" providerId="ADAL" clId="{A9556D7F-CC22-4AB2-A243-FC3401A6D166}" dt="2022-08-18T22:38:45.942" v="9120"/>
          <ac:spMkLst>
            <pc:docMk/>
            <pc:sldMk cId="1089199433" sldId="593"/>
            <ac:spMk id="5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8T22:40:15.781" v="9152" actId="478"/>
          <ac:spMkLst>
            <pc:docMk/>
            <pc:sldMk cId="1089199433" sldId="593"/>
            <ac:spMk id="1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01.817" v="9332" actId="113"/>
          <ac:spMkLst>
            <pc:docMk/>
            <pc:sldMk cId="1089199433" sldId="593"/>
            <ac:spMk id="1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04.180" v="9333" actId="113"/>
          <ac:spMkLst>
            <pc:docMk/>
            <pc:sldMk cId="1089199433" sldId="593"/>
            <ac:spMk id="17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09.365" v="9336" actId="20577"/>
          <ac:spMkLst>
            <pc:docMk/>
            <pc:sldMk cId="1089199433" sldId="593"/>
            <ac:spMk id="18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44:10.466" v="9330" actId="403"/>
          <ac:spMkLst>
            <pc:docMk/>
            <pc:sldMk cId="1089199433" sldId="593"/>
            <ac:spMk id="25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43:58.650" v="9328"/>
          <ac:spMkLst>
            <pc:docMk/>
            <pc:sldMk cId="1089199433" sldId="593"/>
            <ac:spMk id="27" creationId="{84EF5F0A-4958-446F-BB4E-29F827EEC297}"/>
          </ac:spMkLst>
        </pc:spChg>
        <pc:spChg chg="mod">
          <ac:chgData name="Umholtz, Jake" userId="68c67aa9-53c4-4aab-a03d-c07f0aadf984" providerId="ADAL" clId="{A9556D7F-CC22-4AB2-A243-FC3401A6D166}" dt="2022-08-18T22:43:58.650" v="9328"/>
          <ac:spMkLst>
            <pc:docMk/>
            <pc:sldMk cId="1089199433" sldId="593"/>
            <ac:spMk id="28" creationId="{3D24E627-CD52-47A1-B77B-60F4F0D29AD9}"/>
          </ac:spMkLst>
        </pc:spChg>
        <pc:spChg chg="mod">
          <ac:chgData name="Umholtz, Jake" userId="68c67aa9-53c4-4aab-a03d-c07f0aadf984" providerId="ADAL" clId="{A9556D7F-CC22-4AB2-A243-FC3401A6D166}" dt="2022-08-18T22:43:58.650" v="9328"/>
          <ac:spMkLst>
            <pc:docMk/>
            <pc:sldMk cId="1089199433" sldId="593"/>
            <ac:spMk id="29" creationId="{2BAAD81F-D722-42C9-86BE-9CAEF124038B}"/>
          </ac:spMkLst>
        </pc:spChg>
        <pc:spChg chg="mod">
          <ac:chgData name="Umholtz, Jake" userId="68c67aa9-53c4-4aab-a03d-c07f0aadf984" providerId="ADAL" clId="{A9556D7F-CC22-4AB2-A243-FC3401A6D166}" dt="2022-08-18T22:43:58.650" v="9328"/>
          <ac:spMkLst>
            <pc:docMk/>
            <pc:sldMk cId="1089199433" sldId="593"/>
            <ac:spMk id="30" creationId="{9CF1BB7D-904A-4940-B740-D2421C810CFF}"/>
          </ac:spMkLst>
        </pc:spChg>
        <pc:spChg chg="del mod">
          <ac:chgData name="Umholtz, Jake" userId="68c67aa9-53c4-4aab-a03d-c07f0aadf984" providerId="ADAL" clId="{A9556D7F-CC22-4AB2-A243-FC3401A6D166}" dt="2022-08-18T22:40:17.782" v="9154" actId="478"/>
          <ac:spMkLst>
            <pc:docMk/>
            <pc:sldMk cId="1089199433" sldId="593"/>
            <ac:spMk id="44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44.847" v="9341" actId="207"/>
          <ac:spMkLst>
            <pc:docMk/>
            <pc:sldMk cId="1089199433" sldId="593"/>
            <ac:spMk id="4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21.873" v="9338" actId="122"/>
          <ac:spMkLst>
            <pc:docMk/>
            <pc:sldMk cId="1089199433" sldId="593"/>
            <ac:spMk id="4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2:45:24.654" v="9339" actId="122"/>
          <ac:spMkLst>
            <pc:docMk/>
            <pc:sldMk cId="1089199433" sldId="593"/>
            <ac:spMk id="47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8T22:40:20.123" v="9156" actId="478"/>
          <ac:spMkLst>
            <pc:docMk/>
            <pc:sldMk cId="1089199433" sldId="593"/>
            <ac:spMk id="49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8T22:40:18.637" v="9155" actId="478"/>
          <ac:spMkLst>
            <pc:docMk/>
            <pc:sldMk cId="1089199433" sldId="593"/>
            <ac:spMk id="50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2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3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5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6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8" creationId="{00000000-0000-0000-0000-000000000000}"/>
          </ac:spMkLst>
        </pc:spChg>
        <pc:spChg chg="del mod">
          <ac:chgData name="Umholtz, Jake" userId="68c67aa9-53c4-4aab-a03d-c07f0aadf984" providerId="ADAL" clId="{A9556D7F-CC22-4AB2-A243-FC3401A6D166}" dt="2022-08-18T22:40:50.633" v="9199" actId="478"/>
          <ac:spMkLst>
            <pc:docMk/>
            <pc:sldMk cId="1089199433" sldId="593"/>
            <ac:spMk id="5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38:40.338" v="9119"/>
          <ac:spMkLst>
            <pc:docMk/>
            <pc:sldMk cId="1089199433" sldId="593"/>
            <ac:spMk id="279555" creationId="{00000000-0000-0000-0000-000000000000}"/>
          </ac:spMkLst>
        </pc:spChg>
        <pc:grpChg chg="add del mod">
          <ac:chgData name="Umholtz, Jake" userId="68c67aa9-53c4-4aab-a03d-c07f0aadf984" providerId="ADAL" clId="{A9556D7F-CC22-4AB2-A243-FC3401A6D166}" dt="2022-08-18T22:43:21.337" v="9322" actId="165"/>
          <ac:grpSpMkLst>
            <pc:docMk/>
            <pc:sldMk cId="1089199433" sldId="593"/>
            <ac:grpSpMk id="2" creationId="{B2F963F3-55CC-4F5C-ACBE-4345449C4AA5}"/>
          </ac:grpSpMkLst>
        </pc:grpChg>
        <pc:grpChg chg="add mod">
          <ac:chgData name="Umholtz, Jake" userId="68c67aa9-53c4-4aab-a03d-c07f0aadf984" providerId="ADAL" clId="{A9556D7F-CC22-4AB2-A243-FC3401A6D166}" dt="2022-08-18T22:44:27.230" v="9331" actId="164"/>
          <ac:grpSpMkLst>
            <pc:docMk/>
            <pc:sldMk cId="1089199433" sldId="593"/>
            <ac:grpSpMk id="3" creationId="{815700C4-E2F9-4455-BF9A-547EE1D35916}"/>
          </ac:grpSpMkLst>
        </pc:grpChg>
        <pc:grpChg chg="add mod">
          <ac:chgData name="Umholtz, Jake" userId="68c67aa9-53c4-4aab-a03d-c07f0aadf984" providerId="ADAL" clId="{A9556D7F-CC22-4AB2-A243-FC3401A6D166}" dt="2022-08-18T22:43:58.650" v="9328"/>
          <ac:grpSpMkLst>
            <pc:docMk/>
            <pc:sldMk cId="1089199433" sldId="593"/>
            <ac:grpSpMk id="26" creationId="{662F7222-3901-4D06-A7D0-3DF500CCDEF3}"/>
          </ac:grpSpMkLst>
        </pc:grpChg>
        <pc:cxnChg chg="del mod">
          <ac:chgData name="Umholtz, Jake" userId="68c67aa9-53c4-4aab-a03d-c07f0aadf984" providerId="ADAL" clId="{A9556D7F-CC22-4AB2-A243-FC3401A6D166}" dt="2022-08-18T22:40:23.835" v="9159" actId="478"/>
          <ac:cxnSpMkLst>
            <pc:docMk/>
            <pc:sldMk cId="1089199433" sldId="593"/>
            <ac:cxnSpMk id="19" creationId="{00000000-0000-0000-0000-000000000000}"/>
          </ac:cxnSpMkLst>
        </pc:cxnChg>
        <pc:cxnChg chg="mod topLvl">
          <ac:chgData name="Umholtz, Jake" userId="68c67aa9-53c4-4aab-a03d-c07f0aadf984" providerId="ADAL" clId="{A9556D7F-CC22-4AB2-A243-FC3401A6D166}" dt="2022-08-18T22:44:27.230" v="9331" actId="164"/>
          <ac:cxnSpMkLst>
            <pc:docMk/>
            <pc:sldMk cId="1089199433" sldId="593"/>
            <ac:cxnSpMk id="20" creationId="{00000000-0000-0000-0000-000000000000}"/>
          </ac:cxnSpMkLst>
        </pc:cxnChg>
        <pc:cxnChg chg="mod topLvl">
          <ac:chgData name="Umholtz, Jake" userId="68c67aa9-53c4-4aab-a03d-c07f0aadf984" providerId="ADAL" clId="{A9556D7F-CC22-4AB2-A243-FC3401A6D166}" dt="2022-08-18T22:44:27.230" v="9331" actId="164"/>
          <ac:cxnSpMkLst>
            <pc:docMk/>
            <pc:sldMk cId="1089199433" sldId="593"/>
            <ac:cxnSpMk id="21" creationId="{00000000-0000-0000-0000-000000000000}"/>
          </ac:cxnSpMkLst>
        </pc:cxnChg>
      </pc:sldChg>
      <pc:sldChg chg="addSp delSp modSp add mod">
        <pc:chgData name="Umholtz, Jake" userId="68c67aa9-53c4-4aab-a03d-c07f0aadf984" providerId="ADAL" clId="{A9556D7F-CC22-4AB2-A243-FC3401A6D166}" dt="2022-08-19T15:09:04.681" v="10470" actId="404"/>
        <pc:sldMkLst>
          <pc:docMk/>
          <pc:sldMk cId="922478694" sldId="609"/>
        </pc:sldMkLst>
        <pc:spChg chg="add del mod">
          <ac:chgData name="Umholtz, Jake" userId="68c67aa9-53c4-4aab-a03d-c07f0aadf984" providerId="ADAL" clId="{A9556D7F-CC22-4AB2-A243-FC3401A6D166}" dt="2022-08-19T15:04:55.933" v="10390" actId="478"/>
          <ac:spMkLst>
            <pc:docMk/>
            <pc:sldMk cId="922478694" sldId="609"/>
            <ac:spMk id="3" creationId="{5D8C1D89-444F-4FC6-9854-F52AEB7AC119}"/>
          </ac:spMkLst>
        </pc:spChg>
        <pc:spChg chg="del">
          <ac:chgData name="Umholtz, Jake" userId="68c67aa9-53c4-4aab-a03d-c07f0aadf984" providerId="ADAL" clId="{A9556D7F-CC22-4AB2-A243-FC3401A6D166}" dt="2022-08-19T15:04:57.420" v="10391" actId="478"/>
          <ac:spMkLst>
            <pc:docMk/>
            <pc:sldMk cId="922478694" sldId="609"/>
            <ac:spMk id="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5:06:24.237" v="10424" actId="164"/>
          <ac:spMkLst>
            <pc:docMk/>
            <pc:sldMk cId="922478694" sldId="609"/>
            <ac:spMk id="5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9T15:04:58.678" v="10392" actId="478"/>
          <ac:spMkLst>
            <pc:docMk/>
            <pc:sldMk cId="922478694" sldId="609"/>
            <ac:spMk id="7" creationId="{DDC49D35-96C3-4BB8-8F99-145E8291F18A}"/>
          </ac:spMkLst>
        </pc:spChg>
        <pc:spChg chg="mod">
          <ac:chgData name="Umholtz, Jake" userId="68c67aa9-53c4-4aab-a03d-c07f0aadf984" providerId="ADAL" clId="{A9556D7F-CC22-4AB2-A243-FC3401A6D166}" dt="2022-08-19T15:06:16.667" v="10423" actId="164"/>
          <ac:spMkLst>
            <pc:docMk/>
            <pc:sldMk cId="922478694" sldId="609"/>
            <ac:spMk id="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5:06:16.667" v="10423" actId="164"/>
          <ac:spMkLst>
            <pc:docMk/>
            <pc:sldMk cId="922478694" sldId="609"/>
            <ac:spMk id="10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9T15:05:41.236" v="10397" actId="478"/>
          <ac:spMkLst>
            <pc:docMk/>
            <pc:sldMk cId="922478694" sldId="609"/>
            <ac:spMk id="15" creationId="{95455ACC-3BC9-491A-9EB4-37BBC9B0F3A5}"/>
          </ac:spMkLst>
        </pc:spChg>
        <pc:spChg chg="add mod">
          <ac:chgData name="Umholtz, Jake" userId="68c67aa9-53c4-4aab-a03d-c07f0aadf984" providerId="ADAL" clId="{A9556D7F-CC22-4AB2-A243-FC3401A6D166}" dt="2022-08-19T15:05:10.462" v="10396" actId="1076"/>
          <ac:spMkLst>
            <pc:docMk/>
            <pc:sldMk cId="922478694" sldId="609"/>
            <ac:spMk id="17" creationId="{15BBC507-4FAF-4798-A48B-C2CFF51217E9}"/>
          </ac:spMkLst>
        </pc:spChg>
        <pc:spChg chg="add mod">
          <ac:chgData name="Umholtz, Jake" userId="68c67aa9-53c4-4aab-a03d-c07f0aadf984" providerId="ADAL" clId="{A9556D7F-CC22-4AB2-A243-FC3401A6D166}" dt="2022-08-19T15:04:59.965" v="10393"/>
          <ac:spMkLst>
            <pc:docMk/>
            <pc:sldMk cId="922478694" sldId="609"/>
            <ac:spMk id="18" creationId="{0E840175-6C18-475E-8D04-355D07DDAE18}"/>
          </ac:spMkLst>
        </pc:spChg>
        <pc:spChg chg="mod">
          <ac:chgData name="Umholtz, Jake" userId="68c67aa9-53c4-4aab-a03d-c07f0aadf984" providerId="ADAL" clId="{A9556D7F-CC22-4AB2-A243-FC3401A6D166}" dt="2022-08-19T15:08:48.698" v="10466" actId="404"/>
          <ac:spMkLst>
            <pc:docMk/>
            <pc:sldMk cId="922478694" sldId="609"/>
            <ac:spMk id="20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5:09:04.681" v="10470" actId="404"/>
          <ac:spMkLst>
            <pc:docMk/>
            <pc:sldMk cId="922478694" sldId="609"/>
            <ac:spMk id="21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9T15:08:40.486" v="10461" actId="403"/>
          <ac:spMkLst>
            <pc:docMk/>
            <pc:sldMk cId="922478694" sldId="609"/>
            <ac:spMk id="27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5:08:56.217" v="10467" actId="403"/>
          <ac:spMkLst>
            <pc:docMk/>
            <pc:sldMk cId="922478694" sldId="609"/>
            <ac:spMk id="28" creationId="{00000000-0000-0000-0000-000000000000}"/>
          </ac:spMkLst>
        </pc:spChg>
        <pc:spChg chg="del">
          <ac:chgData name="Umholtz, Jake" userId="68c67aa9-53c4-4aab-a03d-c07f0aadf984" providerId="ADAL" clId="{A9556D7F-CC22-4AB2-A243-FC3401A6D166}" dt="2022-08-19T15:04:54.030" v="10389" actId="478"/>
          <ac:spMkLst>
            <pc:docMk/>
            <pc:sldMk cId="922478694" sldId="609"/>
            <ac:spMk id="823297" creationId="{00000000-0000-0000-0000-000000000000}"/>
          </ac:spMkLst>
        </pc:spChg>
        <pc:grpChg chg="add mod">
          <ac:chgData name="Umholtz, Jake" userId="68c67aa9-53c4-4aab-a03d-c07f0aadf984" providerId="ADAL" clId="{A9556D7F-CC22-4AB2-A243-FC3401A6D166}" dt="2022-08-19T15:06:16.667" v="10423" actId="164"/>
          <ac:grpSpMkLst>
            <pc:docMk/>
            <pc:sldMk cId="922478694" sldId="609"/>
            <ac:grpSpMk id="8" creationId="{2211F20B-0844-423D-823C-856F8BE1701B}"/>
          </ac:grpSpMkLst>
        </pc:grpChg>
        <pc:grpChg chg="add mod">
          <ac:chgData name="Umholtz, Jake" userId="68c67aa9-53c4-4aab-a03d-c07f0aadf984" providerId="ADAL" clId="{A9556D7F-CC22-4AB2-A243-FC3401A6D166}" dt="2022-08-19T15:08:02.870" v="10441" actId="1076"/>
          <ac:grpSpMkLst>
            <pc:docMk/>
            <pc:sldMk cId="922478694" sldId="609"/>
            <ac:grpSpMk id="11" creationId="{AD7E12F6-43DA-422E-BACD-409962DFC36C}"/>
          </ac:grpSpMkLst>
        </pc:grpChg>
        <pc:grpChg chg="mod">
          <ac:chgData name="Umholtz, Jake" userId="68c67aa9-53c4-4aab-a03d-c07f0aadf984" providerId="ADAL" clId="{A9556D7F-CC22-4AB2-A243-FC3401A6D166}" dt="2022-08-19T15:06:24.237" v="10424" actId="164"/>
          <ac:grpSpMkLst>
            <pc:docMk/>
            <pc:sldMk cId="922478694" sldId="609"/>
            <ac:grpSpMk id="823302" creationId="{00000000-0000-0000-0000-000000000000}"/>
          </ac:grpSpMkLst>
        </pc:grpChg>
      </pc:sldChg>
      <pc:sldChg chg="add del">
        <pc:chgData name="Umholtz, Jake" userId="68c67aa9-53c4-4aab-a03d-c07f0aadf984" providerId="ADAL" clId="{A9556D7F-CC22-4AB2-A243-FC3401A6D166}" dt="2022-08-18T22:38:12.158" v="9118" actId="47"/>
        <pc:sldMkLst>
          <pc:docMk/>
          <pc:sldMk cId="2001916377" sldId="612"/>
        </pc:sldMkLst>
      </pc:sldChg>
      <pc:sldChg chg="addSp delSp modSp add del mod ord modNotes modNotesTx">
        <pc:chgData name="Umholtz, Jake" userId="68c67aa9-53c4-4aab-a03d-c07f0aadf984" providerId="ADAL" clId="{A9556D7F-CC22-4AB2-A243-FC3401A6D166}" dt="2022-08-18T18:09:20.760" v="6347" actId="47"/>
        <pc:sldMkLst>
          <pc:docMk/>
          <pc:sldMk cId="47003559" sldId="672"/>
        </pc:sldMkLst>
        <pc:spChg chg="mod">
          <ac:chgData name="Umholtz, Jake" userId="68c67aa9-53c4-4aab-a03d-c07f0aadf984" providerId="ADAL" clId="{A9556D7F-CC22-4AB2-A243-FC3401A6D166}" dt="2022-08-18T16:51:47.079" v="6272" actId="20577"/>
          <ac:spMkLst>
            <pc:docMk/>
            <pc:sldMk cId="47003559" sldId="672"/>
            <ac:spMk id="3" creationId="{38DD1CE0-EEB2-A648-B763-7F40D6671914}"/>
          </ac:spMkLst>
        </pc:spChg>
        <pc:spChg chg="del">
          <ac:chgData name="Umholtz, Jake" userId="68c67aa9-53c4-4aab-a03d-c07f0aadf984" providerId="ADAL" clId="{A9556D7F-CC22-4AB2-A243-FC3401A6D166}" dt="2022-08-18T16:44:21.102" v="6128" actId="478"/>
          <ac:spMkLst>
            <pc:docMk/>
            <pc:sldMk cId="47003559" sldId="672"/>
            <ac:spMk id="34" creationId="{A04A50EF-A03A-4F0C-AE38-6B08CEF1AA17}"/>
          </ac:spMkLst>
        </pc:spChg>
        <pc:spChg chg="del mod">
          <ac:chgData name="Umholtz, Jake" userId="68c67aa9-53c4-4aab-a03d-c07f0aadf984" providerId="ADAL" clId="{A9556D7F-CC22-4AB2-A243-FC3401A6D166}" dt="2022-08-18T16:50:10.149" v="6237"/>
          <ac:spMkLst>
            <pc:docMk/>
            <pc:sldMk cId="47003559" sldId="672"/>
            <ac:spMk id="35" creationId="{321FECAA-6D97-420A-AF8C-51383876C4E3}"/>
          </ac:spMkLst>
        </pc:spChg>
        <pc:spChg chg="mod">
          <ac:chgData name="Umholtz, Jake" userId="68c67aa9-53c4-4aab-a03d-c07f0aadf984" providerId="ADAL" clId="{A9556D7F-CC22-4AB2-A243-FC3401A6D166}" dt="2022-08-18T16:51:25.438" v="6248" actId="207"/>
          <ac:spMkLst>
            <pc:docMk/>
            <pc:sldMk cId="47003559" sldId="672"/>
            <ac:spMk id="37" creationId="{A687A2B8-221D-4FC8-9949-A7E791588496}"/>
          </ac:spMkLst>
        </pc:spChg>
        <pc:spChg chg="mod">
          <ac:chgData name="Umholtz, Jake" userId="68c67aa9-53c4-4aab-a03d-c07f0aadf984" providerId="ADAL" clId="{A9556D7F-CC22-4AB2-A243-FC3401A6D166}" dt="2022-08-18T16:51:25.438" v="6248" actId="207"/>
          <ac:spMkLst>
            <pc:docMk/>
            <pc:sldMk cId="47003559" sldId="672"/>
            <ac:spMk id="38" creationId="{AF86403A-338C-4A88-B591-02F9A7E7EAE3}"/>
          </ac:spMkLst>
        </pc:spChg>
        <pc:spChg chg="add del mod">
          <ac:chgData name="Umholtz, Jake" userId="68c67aa9-53c4-4aab-a03d-c07f0aadf984" providerId="ADAL" clId="{A9556D7F-CC22-4AB2-A243-FC3401A6D166}" dt="2022-08-18T16:48:32.834" v="6202" actId="478"/>
          <ac:spMkLst>
            <pc:docMk/>
            <pc:sldMk cId="47003559" sldId="672"/>
            <ac:spMk id="54" creationId="{206BC65B-DE00-4E93-B9A5-3C239D5EB2F2}"/>
          </ac:spMkLst>
        </pc:spChg>
        <pc:spChg chg="add del mod">
          <ac:chgData name="Umholtz, Jake" userId="68c67aa9-53c4-4aab-a03d-c07f0aadf984" providerId="ADAL" clId="{A9556D7F-CC22-4AB2-A243-FC3401A6D166}" dt="2022-08-18T16:48:29.661" v="6199" actId="478"/>
          <ac:spMkLst>
            <pc:docMk/>
            <pc:sldMk cId="47003559" sldId="672"/>
            <ac:spMk id="56" creationId="{59F440A8-AF07-46B8-BA85-7082092A1431}"/>
          </ac:spMkLst>
        </pc:spChg>
        <pc:spChg chg="del mod ord">
          <ac:chgData name="Umholtz, Jake" userId="68c67aa9-53c4-4aab-a03d-c07f0aadf984" providerId="ADAL" clId="{A9556D7F-CC22-4AB2-A243-FC3401A6D166}" dt="2022-08-18T16:48:34.745" v="6203" actId="478"/>
          <ac:spMkLst>
            <pc:docMk/>
            <pc:sldMk cId="47003559" sldId="672"/>
            <ac:spMk id="57" creationId="{591B608A-2BB6-4AA3-9251-FCC3F0EB892A}"/>
          </ac:spMkLst>
        </pc:spChg>
        <pc:spChg chg="del">
          <ac:chgData name="Umholtz, Jake" userId="68c67aa9-53c4-4aab-a03d-c07f0aadf984" providerId="ADAL" clId="{A9556D7F-CC22-4AB2-A243-FC3401A6D166}" dt="2022-08-18T16:48:25.746" v="6196" actId="478"/>
          <ac:spMkLst>
            <pc:docMk/>
            <pc:sldMk cId="47003559" sldId="672"/>
            <ac:spMk id="58" creationId="{A4E5CB12-D334-4F3C-8E95-18A0829C146E}"/>
          </ac:spMkLst>
        </pc:spChg>
        <pc:spChg chg="del">
          <ac:chgData name="Umholtz, Jake" userId="68c67aa9-53c4-4aab-a03d-c07f0aadf984" providerId="ADAL" clId="{A9556D7F-CC22-4AB2-A243-FC3401A6D166}" dt="2022-08-18T16:48:37.829" v="6204" actId="478"/>
          <ac:spMkLst>
            <pc:docMk/>
            <pc:sldMk cId="47003559" sldId="672"/>
            <ac:spMk id="59" creationId="{6FDB15B8-560E-45B5-BDEC-60A51C02DC5B}"/>
          </ac:spMkLst>
        </pc:spChg>
        <pc:spChg chg="mod">
          <ac:chgData name="Umholtz, Jake" userId="68c67aa9-53c4-4aab-a03d-c07f0aadf984" providerId="ADAL" clId="{A9556D7F-CC22-4AB2-A243-FC3401A6D166}" dt="2022-08-18T16:47:28.465" v="6172" actId="1076"/>
          <ac:spMkLst>
            <pc:docMk/>
            <pc:sldMk cId="47003559" sldId="672"/>
            <ac:spMk id="61" creationId="{7C8116ED-D9C5-4F33-829C-ED9A72C64C9B}"/>
          </ac:spMkLst>
        </pc:spChg>
        <pc:spChg chg="mod ord">
          <ac:chgData name="Umholtz, Jake" userId="68c67aa9-53c4-4aab-a03d-c07f0aadf984" providerId="ADAL" clId="{A9556D7F-CC22-4AB2-A243-FC3401A6D166}" dt="2022-08-18T17:59:31.503" v="6292" actId="1076"/>
          <ac:spMkLst>
            <pc:docMk/>
            <pc:sldMk cId="47003559" sldId="672"/>
            <ac:spMk id="63" creationId="{C2B38D58-A3AB-4B46-AE5B-F23962204611}"/>
          </ac:spMkLst>
        </pc:spChg>
        <pc:spChg chg="add del mod">
          <ac:chgData name="Umholtz, Jake" userId="68c67aa9-53c4-4aab-a03d-c07f0aadf984" providerId="ADAL" clId="{A9556D7F-CC22-4AB2-A243-FC3401A6D166}" dt="2022-08-18T16:50:55.687" v="6246" actId="478"/>
          <ac:spMkLst>
            <pc:docMk/>
            <pc:sldMk cId="47003559" sldId="672"/>
            <ac:spMk id="64" creationId="{2033B1B6-115D-44A5-A061-2642C9114AB3}"/>
          </ac:spMkLst>
        </pc:spChg>
        <pc:spChg chg="mod">
          <ac:chgData name="Umholtz, Jake" userId="68c67aa9-53c4-4aab-a03d-c07f0aadf984" providerId="ADAL" clId="{A9556D7F-CC22-4AB2-A243-FC3401A6D166}" dt="2022-08-18T16:52:10.582" v="6277" actId="1076"/>
          <ac:spMkLst>
            <pc:docMk/>
            <pc:sldMk cId="47003559" sldId="672"/>
            <ac:spMk id="65" creationId="{79C6B493-65F8-4AA1-82A6-36E2A64F434B}"/>
          </ac:spMkLst>
        </pc:spChg>
        <pc:spChg chg="mod">
          <ac:chgData name="Umholtz, Jake" userId="68c67aa9-53c4-4aab-a03d-c07f0aadf984" providerId="ADAL" clId="{A9556D7F-CC22-4AB2-A243-FC3401A6D166}" dt="2022-08-18T17:59:37.801" v="6293" actId="1076"/>
          <ac:spMkLst>
            <pc:docMk/>
            <pc:sldMk cId="47003559" sldId="672"/>
            <ac:spMk id="66" creationId="{EBD0018F-F518-4C94-B08E-6D617F82B93A}"/>
          </ac:spMkLst>
        </pc:spChg>
        <pc:spChg chg="mod">
          <ac:chgData name="Umholtz, Jake" userId="68c67aa9-53c4-4aab-a03d-c07f0aadf984" providerId="ADAL" clId="{A9556D7F-CC22-4AB2-A243-FC3401A6D166}" dt="2022-08-18T16:46:33.560" v="6156" actId="1076"/>
          <ac:spMkLst>
            <pc:docMk/>
            <pc:sldMk cId="47003559" sldId="672"/>
            <ac:spMk id="69" creationId="{1A8AA83F-7396-4CD0-AD3F-A77B78D2FA34}"/>
          </ac:spMkLst>
        </pc:spChg>
        <pc:spChg chg="mod">
          <ac:chgData name="Umholtz, Jake" userId="68c67aa9-53c4-4aab-a03d-c07f0aadf984" providerId="ADAL" clId="{A9556D7F-CC22-4AB2-A243-FC3401A6D166}" dt="2022-08-18T16:52:37.366" v="6286" actId="1037"/>
          <ac:spMkLst>
            <pc:docMk/>
            <pc:sldMk cId="47003559" sldId="672"/>
            <ac:spMk id="72" creationId="{AC12BF62-57A5-4BA6-A79C-F95F03328D4A}"/>
          </ac:spMkLst>
        </pc:spChg>
        <pc:spChg chg="mod">
          <ac:chgData name="Umholtz, Jake" userId="68c67aa9-53c4-4aab-a03d-c07f0aadf984" providerId="ADAL" clId="{A9556D7F-CC22-4AB2-A243-FC3401A6D166}" dt="2022-08-18T18:00:53.094" v="6340" actId="20577"/>
          <ac:spMkLst>
            <pc:docMk/>
            <pc:sldMk cId="47003559" sldId="672"/>
            <ac:spMk id="73" creationId="{50C42B8C-7B2A-4510-8D4A-D7D635822455}"/>
          </ac:spMkLst>
        </pc:spChg>
        <pc:spChg chg="del mod">
          <ac:chgData name="Umholtz, Jake" userId="68c67aa9-53c4-4aab-a03d-c07f0aadf984" providerId="ADAL" clId="{A9556D7F-CC22-4AB2-A243-FC3401A6D166}" dt="2022-08-18T16:45:05.785" v="6150" actId="478"/>
          <ac:spMkLst>
            <pc:docMk/>
            <pc:sldMk cId="47003559" sldId="672"/>
            <ac:spMk id="75" creationId="{CE33143E-0943-4436-B249-638EC6D25ED5}"/>
          </ac:spMkLst>
        </pc:spChg>
        <pc:spChg chg="del">
          <ac:chgData name="Umholtz, Jake" userId="68c67aa9-53c4-4aab-a03d-c07f0aadf984" providerId="ADAL" clId="{A9556D7F-CC22-4AB2-A243-FC3401A6D166}" dt="2022-08-18T16:45:01.695" v="6148" actId="478"/>
          <ac:spMkLst>
            <pc:docMk/>
            <pc:sldMk cId="47003559" sldId="672"/>
            <ac:spMk id="77" creationId="{D723A76E-43EB-4D08-956B-C13DA946C7BE}"/>
          </ac:spMkLst>
        </pc:spChg>
        <pc:spChg chg="del">
          <ac:chgData name="Umholtz, Jake" userId="68c67aa9-53c4-4aab-a03d-c07f0aadf984" providerId="ADAL" clId="{A9556D7F-CC22-4AB2-A243-FC3401A6D166}" dt="2022-08-18T16:45:12.853" v="6153" actId="478"/>
          <ac:spMkLst>
            <pc:docMk/>
            <pc:sldMk cId="47003559" sldId="672"/>
            <ac:spMk id="79" creationId="{7AED8F5C-E015-4727-AB14-A26513902A17}"/>
          </ac:spMkLst>
        </pc:spChg>
        <pc:spChg chg="del">
          <ac:chgData name="Umholtz, Jake" userId="68c67aa9-53c4-4aab-a03d-c07f0aadf984" providerId="ADAL" clId="{A9556D7F-CC22-4AB2-A243-FC3401A6D166}" dt="2022-08-18T16:45:14.543" v="6154" actId="478"/>
          <ac:spMkLst>
            <pc:docMk/>
            <pc:sldMk cId="47003559" sldId="672"/>
            <ac:spMk id="80" creationId="{30E44304-0535-40DD-B022-152C1A673A86}"/>
          </ac:spMkLst>
        </pc:spChg>
        <pc:spChg chg="del mod">
          <ac:chgData name="Umholtz, Jake" userId="68c67aa9-53c4-4aab-a03d-c07f0aadf984" providerId="ADAL" clId="{A9556D7F-CC22-4AB2-A243-FC3401A6D166}" dt="2022-08-18T16:45:10.646" v="6152" actId="478"/>
          <ac:spMkLst>
            <pc:docMk/>
            <pc:sldMk cId="47003559" sldId="672"/>
            <ac:spMk id="81" creationId="{ADA2E4B0-D33E-46A6-A464-DD7141CD4831}"/>
          </ac:spMkLst>
        </pc:spChg>
        <pc:grpChg chg="add del mod">
          <ac:chgData name="Umholtz, Jake" userId="68c67aa9-53c4-4aab-a03d-c07f0aadf984" providerId="ADAL" clId="{A9556D7F-CC22-4AB2-A243-FC3401A6D166}" dt="2022-08-18T16:50:10.149" v="6237"/>
          <ac:grpSpMkLst>
            <pc:docMk/>
            <pc:sldMk cId="47003559" sldId="672"/>
            <ac:grpSpMk id="5" creationId="{299C7319-A339-43A2-99F0-65D28EBE86B7}"/>
          </ac:grpSpMkLst>
        </pc:grpChg>
        <pc:grpChg chg="mod">
          <ac:chgData name="Umholtz, Jake" userId="68c67aa9-53c4-4aab-a03d-c07f0aadf984" providerId="ADAL" clId="{A9556D7F-CC22-4AB2-A243-FC3401A6D166}" dt="2022-08-18T16:51:25.438" v="6248" actId="207"/>
          <ac:grpSpMkLst>
            <pc:docMk/>
            <pc:sldMk cId="47003559" sldId="672"/>
            <ac:grpSpMk id="36" creationId="{DDFCDC39-B13B-4F47-BD36-3E2E57D5E389}"/>
          </ac:grpSpMkLst>
        </pc:grpChg>
        <pc:grpChg chg="add del">
          <ac:chgData name="Umholtz, Jake" userId="68c67aa9-53c4-4aab-a03d-c07f0aadf984" providerId="ADAL" clId="{A9556D7F-CC22-4AB2-A243-FC3401A6D166}" dt="2022-08-18T16:48:32.834" v="6202" actId="478"/>
          <ac:grpSpMkLst>
            <pc:docMk/>
            <pc:sldMk cId="47003559" sldId="672"/>
            <ac:grpSpMk id="53" creationId="{FEC51027-46EE-490B-ABC7-45C92C8A352E}"/>
          </ac:grpSpMkLst>
        </pc:grpChg>
        <pc:grpChg chg="del mod">
          <ac:chgData name="Umholtz, Jake" userId="68c67aa9-53c4-4aab-a03d-c07f0aadf984" providerId="ADAL" clId="{A9556D7F-CC22-4AB2-A243-FC3401A6D166}" dt="2022-08-18T16:48:34.745" v="6203" actId="478"/>
          <ac:grpSpMkLst>
            <pc:docMk/>
            <pc:sldMk cId="47003559" sldId="672"/>
            <ac:grpSpMk id="55" creationId="{3BF63A82-F129-428F-961D-69DCAA9E9814}"/>
          </ac:grpSpMkLst>
        </pc:grpChg>
        <pc:grpChg chg="del">
          <ac:chgData name="Umholtz, Jake" userId="68c67aa9-53c4-4aab-a03d-c07f0aadf984" providerId="ADAL" clId="{A9556D7F-CC22-4AB2-A243-FC3401A6D166}" dt="2022-08-18T16:45:05.785" v="6150" actId="478"/>
          <ac:grpSpMkLst>
            <pc:docMk/>
            <pc:sldMk cId="47003559" sldId="672"/>
            <ac:grpSpMk id="74" creationId="{2DE20407-423A-4CC8-8908-04B388496EC7}"/>
          </ac:grpSpMkLst>
        </pc:grpChg>
        <pc:grpChg chg="del">
          <ac:chgData name="Umholtz, Jake" userId="68c67aa9-53c4-4aab-a03d-c07f0aadf984" providerId="ADAL" clId="{A9556D7F-CC22-4AB2-A243-FC3401A6D166}" dt="2022-08-18T16:45:01.695" v="6148" actId="478"/>
          <ac:grpSpMkLst>
            <pc:docMk/>
            <pc:sldMk cId="47003559" sldId="672"/>
            <ac:grpSpMk id="76" creationId="{3590B9B8-FDB8-4F18-B96F-B1DBEEBAA723}"/>
          </ac:grpSpMkLst>
        </pc:grpChg>
        <pc:grpChg chg="del">
          <ac:chgData name="Umholtz, Jake" userId="68c67aa9-53c4-4aab-a03d-c07f0aadf984" providerId="ADAL" clId="{A9556D7F-CC22-4AB2-A243-FC3401A6D166}" dt="2022-08-18T16:45:12.853" v="6153" actId="478"/>
          <ac:grpSpMkLst>
            <pc:docMk/>
            <pc:sldMk cId="47003559" sldId="672"/>
            <ac:grpSpMk id="78" creationId="{0E08AF36-E332-4193-B5D2-E155F07A1FC6}"/>
          </ac:grpSpMkLst>
        </pc:grpChg>
      </pc:sldChg>
      <pc:sldChg chg="del">
        <pc:chgData name="Umholtz, Jake" userId="68c67aa9-53c4-4aab-a03d-c07f0aadf984" providerId="ADAL" clId="{A9556D7F-CC22-4AB2-A243-FC3401A6D166}" dt="2022-08-18T18:53:31.710" v="7169" actId="47"/>
        <pc:sldMkLst>
          <pc:docMk/>
          <pc:sldMk cId="3605303726" sldId="673"/>
        </pc:sldMkLst>
      </pc:sldChg>
      <pc:sldChg chg="modSp add mod">
        <pc:chgData name="Umholtz, Jake" userId="68c67aa9-53c4-4aab-a03d-c07f0aadf984" providerId="ADAL" clId="{A9556D7F-CC22-4AB2-A243-FC3401A6D166}" dt="2022-08-18T18:30:13.110" v="6735" actId="1076"/>
        <pc:sldMkLst>
          <pc:docMk/>
          <pc:sldMk cId="4228642639" sldId="674"/>
        </pc:sldMkLst>
        <pc:spChg chg="mod">
          <ac:chgData name="Umholtz, Jake" userId="68c67aa9-53c4-4aab-a03d-c07f0aadf984" providerId="ADAL" clId="{A9556D7F-CC22-4AB2-A243-FC3401A6D166}" dt="2022-08-18T18:30:13.110" v="6735" actId="1076"/>
          <ac:spMkLst>
            <pc:docMk/>
            <pc:sldMk cId="4228642639" sldId="674"/>
            <ac:spMk id="2" creationId="{1A53A8AD-38C0-4854-81B3-9B99B4E007ED}"/>
          </ac:spMkLst>
        </pc:spChg>
      </pc:sldChg>
      <pc:sldChg chg="addSp delSp modSp add mod modNotes modNotesTx">
        <pc:chgData name="Umholtz, Jake" userId="68c67aa9-53c4-4aab-a03d-c07f0aadf984" providerId="ADAL" clId="{A9556D7F-CC22-4AB2-A243-FC3401A6D166}" dt="2022-08-19T20:35:38.853" v="11567" actId="1076"/>
        <pc:sldMkLst>
          <pc:docMk/>
          <pc:sldMk cId="4141369604" sldId="675"/>
        </pc:sldMkLst>
        <pc:spChg chg="mod">
          <ac:chgData name="Umholtz, Jake" userId="68c67aa9-53c4-4aab-a03d-c07f0aadf984" providerId="ADAL" clId="{A9556D7F-CC22-4AB2-A243-FC3401A6D166}" dt="2022-08-18T22:15:40.537" v="9071" actId="20577"/>
          <ac:spMkLst>
            <pc:docMk/>
            <pc:sldMk cId="4141369604" sldId="675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08:31.140" v="8690" actId="207"/>
          <ac:spMkLst>
            <pc:docMk/>
            <pc:sldMk cId="4141369604" sldId="675"/>
            <ac:spMk id="3" creationId="{B3852ADB-BFEF-37E5-D20B-0174468DB396}"/>
          </ac:spMkLst>
        </pc:spChg>
        <pc:spChg chg="del mod">
          <ac:chgData name="Umholtz, Jake" userId="68c67aa9-53c4-4aab-a03d-c07f0aadf984" providerId="ADAL" clId="{A9556D7F-CC22-4AB2-A243-FC3401A6D166}" dt="2022-08-19T20:33:33.848" v="11545" actId="478"/>
          <ac:spMkLst>
            <pc:docMk/>
            <pc:sldMk cId="4141369604" sldId="675"/>
            <ac:spMk id="5" creationId="{C2B756BC-73D1-43E2-6FB6-EE9424529B9B}"/>
          </ac:spMkLst>
        </pc:spChg>
        <pc:spChg chg="add mod">
          <ac:chgData name="Umholtz, Jake" userId="68c67aa9-53c4-4aab-a03d-c07f0aadf984" providerId="ADAL" clId="{A9556D7F-CC22-4AB2-A243-FC3401A6D166}" dt="2022-08-18T21:10:58.203" v="8431" actId="20577"/>
          <ac:spMkLst>
            <pc:docMk/>
            <pc:sldMk cId="4141369604" sldId="675"/>
            <ac:spMk id="6" creationId="{B0A71DE5-3361-4C88-96CA-66ABD2D47DAC}"/>
          </ac:spMkLst>
        </pc:spChg>
        <pc:spChg chg="add del mod">
          <ac:chgData name="Umholtz, Jake" userId="68c67aa9-53c4-4aab-a03d-c07f0aadf984" providerId="ADAL" clId="{A9556D7F-CC22-4AB2-A243-FC3401A6D166}" dt="2022-08-19T20:33:35.173" v="11546" actId="478"/>
          <ac:spMkLst>
            <pc:docMk/>
            <pc:sldMk cId="4141369604" sldId="675"/>
            <ac:spMk id="7" creationId="{9F7E8FB2-98B2-44F5-B86C-7C702DB8CCE7}"/>
          </ac:spMkLst>
        </pc:spChg>
        <pc:spChg chg="add mod">
          <ac:chgData name="Umholtz, Jake" userId="68c67aa9-53c4-4aab-a03d-c07f0aadf984" providerId="ADAL" clId="{A9556D7F-CC22-4AB2-A243-FC3401A6D166}" dt="2022-08-18T21:10:57.932" v="8430" actId="20577"/>
          <ac:spMkLst>
            <pc:docMk/>
            <pc:sldMk cId="4141369604" sldId="675"/>
            <ac:spMk id="7" creationId="{FEC16A63-BFBA-46C7-9092-8388D50D911B}"/>
          </ac:spMkLst>
        </pc:spChg>
        <pc:spChg chg="add mod">
          <ac:chgData name="Umholtz, Jake" userId="68c67aa9-53c4-4aab-a03d-c07f0aadf984" providerId="ADAL" clId="{A9556D7F-CC22-4AB2-A243-FC3401A6D166}" dt="2022-08-18T21:10:20.696" v="8415" actId="164"/>
          <ac:spMkLst>
            <pc:docMk/>
            <pc:sldMk cId="4141369604" sldId="675"/>
            <ac:spMk id="8" creationId="{5D1CAD16-58DC-493B-85A0-55C2D580D4D6}"/>
          </ac:spMkLst>
        </pc:spChg>
        <pc:spChg chg="add del mod">
          <ac:chgData name="Umholtz, Jake" userId="68c67aa9-53c4-4aab-a03d-c07f0aadf984" providerId="ADAL" clId="{A9556D7F-CC22-4AB2-A243-FC3401A6D166}" dt="2022-08-18T21:10:11.806" v="8414" actId="478"/>
          <ac:spMkLst>
            <pc:docMk/>
            <pc:sldMk cId="4141369604" sldId="675"/>
            <ac:spMk id="9" creationId="{9CD3EE69-D60D-4EE1-9040-6ADEB2BFEF02}"/>
          </ac:spMkLst>
        </pc:spChg>
        <pc:spChg chg="mod">
          <ac:chgData name="Umholtz, Jake" userId="68c67aa9-53c4-4aab-a03d-c07f0aadf984" providerId="ADAL" clId="{A9556D7F-CC22-4AB2-A243-FC3401A6D166}" dt="2022-08-18T21:12:22.536" v="8491"/>
          <ac:spMkLst>
            <pc:docMk/>
            <pc:sldMk cId="4141369604" sldId="675"/>
            <ac:spMk id="13" creationId="{616CE6A8-C907-4DB6-B8A6-8C264B6DE63E}"/>
          </ac:spMkLst>
        </pc:spChg>
        <pc:spChg chg="mod">
          <ac:chgData name="Umholtz, Jake" userId="68c67aa9-53c4-4aab-a03d-c07f0aadf984" providerId="ADAL" clId="{A9556D7F-CC22-4AB2-A243-FC3401A6D166}" dt="2022-08-19T20:24:25.563" v="11072"/>
          <ac:spMkLst>
            <pc:docMk/>
            <pc:sldMk cId="4141369604" sldId="675"/>
            <ac:spMk id="13" creationId="{C809D694-5802-47F4-A485-B5B04999F479}"/>
          </ac:spMkLst>
        </pc:spChg>
        <pc:spChg chg="mod">
          <ac:chgData name="Umholtz, Jake" userId="68c67aa9-53c4-4aab-a03d-c07f0aadf984" providerId="ADAL" clId="{A9556D7F-CC22-4AB2-A243-FC3401A6D166}" dt="2022-08-19T20:24:25.563" v="11072"/>
          <ac:spMkLst>
            <pc:docMk/>
            <pc:sldMk cId="4141369604" sldId="675"/>
            <ac:spMk id="14" creationId="{C460A21E-15DB-466C-9A98-CFE5887F0A22}"/>
          </ac:spMkLst>
        </pc:spChg>
        <pc:spChg chg="mod">
          <ac:chgData name="Umholtz, Jake" userId="68c67aa9-53c4-4aab-a03d-c07f0aadf984" providerId="ADAL" clId="{A9556D7F-CC22-4AB2-A243-FC3401A6D166}" dt="2022-08-18T21:12:22.536" v="8491"/>
          <ac:spMkLst>
            <pc:docMk/>
            <pc:sldMk cId="4141369604" sldId="675"/>
            <ac:spMk id="14" creationId="{EE3D215C-B95E-483C-ADEB-596FE31DD80E}"/>
          </ac:spMkLst>
        </pc:spChg>
        <pc:spChg chg="mod">
          <ac:chgData name="Umholtz, Jake" userId="68c67aa9-53c4-4aab-a03d-c07f0aadf984" providerId="ADAL" clId="{A9556D7F-CC22-4AB2-A243-FC3401A6D166}" dt="2022-08-19T20:24:25.563" v="11072"/>
          <ac:spMkLst>
            <pc:docMk/>
            <pc:sldMk cId="4141369604" sldId="675"/>
            <ac:spMk id="15" creationId="{2012C15C-E950-41EF-8C49-A9D40E3A2996}"/>
          </ac:spMkLst>
        </pc:spChg>
        <pc:spChg chg="mod">
          <ac:chgData name="Umholtz, Jake" userId="68c67aa9-53c4-4aab-a03d-c07f0aadf984" providerId="ADAL" clId="{A9556D7F-CC22-4AB2-A243-FC3401A6D166}" dt="2022-08-18T21:12:22.536" v="8491"/>
          <ac:spMkLst>
            <pc:docMk/>
            <pc:sldMk cId="4141369604" sldId="675"/>
            <ac:spMk id="15" creationId="{8A6037BB-37B4-4F6A-AC4F-C1630E73B5E2}"/>
          </ac:spMkLst>
        </pc:spChg>
        <pc:spChg chg="mod">
          <ac:chgData name="Umholtz, Jake" userId="68c67aa9-53c4-4aab-a03d-c07f0aadf984" providerId="ADAL" clId="{A9556D7F-CC22-4AB2-A243-FC3401A6D166}" dt="2022-08-18T21:13:14.867" v="8531" actId="20577"/>
          <ac:spMkLst>
            <pc:docMk/>
            <pc:sldMk cId="4141369604" sldId="675"/>
            <ac:spMk id="16" creationId="{52E7F5FC-3AD7-4156-98C7-F778CF40447F}"/>
          </ac:spMkLst>
        </pc:spChg>
        <pc:spChg chg="mod">
          <ac:chgData name="Umholtz, Jake" userId="68c67aa9-53c4-4aab-a03d-c07f0aadf984" providerId="ADAL" clId="{A9556D7F-CC22-4AB2-A243-FC3401A6D166}" dt="2022-08-19T20:24:25.563" v="11072"/>
          <ac:spMkLst>
            <pc:docMk/>
            <pc:sldMk cId="4141369604" sldId="675"/>
            <ac:spMk id="16" creationId="{A144937F-E0AE-4D8E-9527-6F063C28E247}"/>
          </ac:spMkLst>
        </pc:spChg>
        <pc:spChg chg="mod">
          <ac:chgData name="Umholtz, Jake" userId="68c67aa9-53c4-4aab-a03d-c07f0aadf984" providerId="ADAL" clId="{A9556D7F-CC22-4AB2-A243-FC3401A6D166}" dt="2022-08-18T21:16:39.467" v="8552"/>
          <ac:spMkLst>
            <pc:docMk/>
            <pc:sldMk cId="4141369604" sldId="675"/>
            <ac:spMk id="18" creationId="{33D94EBE-D201-4A0B-B2CF-94357FB250B6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18" creationId="{E77D318D-A517-4E3F-9C68-A0A9AC7D416F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19" creationId="{64F072E0-419D-4A06-97F5-0B2B14A7D3A5}"/>
          </ac:spMkLst>
        </pc:spChg>
        <pc:spChg chg="mod">
          <ac:chgData name="Umholtz, Jake" userId="68c67aa9-53c4-4aab-a03d-c07f0aadf984" providerId="ADAL" clId="{A9556D7F-CC22-4AB2-A243-FC3401A6D166}" dt="2022-08-18T21:16:39.467" v="8552"/>
          <ac:spMkLst>
            <pc:docMk/>
            <pc:sldMk cId="4141369604" sldId="675"/>
            <ac:spMk id="19" creationId="{8D8E0BFB-5A69-4EEA-9D13-CB9FE8AF1EFE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20" creationId="{414B80DC-D929-41C2-A30F-1D84D3EF848B}"/>
          </ac:spMkLst>
        </pc:spChg>
        <pc:spChg chg="mod">
          <ac:chgData name="Umholtz, Jake" userId="68c67aa9-53c4-4aab-a03d-c07f0aadf984" providerId="ADAL" clId="{A9556D7F-CC22-4AB2-A243-FC3401A6D166}" dt="2022-08-18T21:16:39.467" v="8552"/>
          <ac:spMkLst>
            <pc:docMk/>
            <pc:sldMk cId="4141369604" sldId="675"/>
            <ac:spMk id="20" creationId="{ABAD7E47-68A5-43E8-A976-A0C804686B9F}"/>
          </ac:spMkLst>
        </pc:spChg>
        <pc:spChg chg="mod">
          <ac:chgData name="Umholtz, Jake" userId="68c67aa9-53c4-4aab-a03d-c07f0aadf984" providerId="ADAL" clId="{A9556D7F-CC22-4AB2-A243-FC3401A6D166}" dt="2022-08-18T21:16:39.467" v="8552"/>
          <ac:spMkLst>
            <pc:docMk/>
            <pc:sldMk cId="4141369604" sldId="675"/>
            <ac:spMk id="21" creationId="{BD92CBFA-41CA-4BE7-AC6B-BD1AEC2D4820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21" creationId="{D17FAE70-0CCC-4DD2-8785-4F57699A5051}"/>
          </ac:spMkLst>
        </pc:spChg>
        <pc:spChg chg="mod">
          <ac:chgData name="Umholtz, Jake" userId="68c67aa9-53c4-4aab-a03d-c07f0aadf984" providerId="ADAL" clId="{A9556D7F-CC22-4AB2-A243-FC3401A6D166}" dt="2022-08-18T21:16:43.628" v="8555"/>
          <ac:spMkLst>
            <pc:docMk/>
            <pc:sldMk cId="4141369604" sldId="675"/>
            <ac:spMk id="23" creationId="{D7610EE1-1ED1-4505-9D1D-8C2C07D86056}"/>
          </ac:spMkLst>
        </pc:spChg>
        <pc:spChg chg="mod">
          <ac:chgData name="Umholtz, Jake" userId="68c67aa9-53c4-4aab-a03d-c07f0aadf984" providerId="ADAL" clId="{A9556D7F-CC22-4AB2-A243-FC3401A6D166}" dt="2022-08-18T21:16:43.628" v="8555"/>
          <ac:spMkLst>
            <pc:docMk/>
            <pc:sldMk cId="4141369604" sldId="675"/>
            <ac:spMk id="24" creationId="{D33DE679-DA82-4AA4-9AEC-A8A5477DFBD3}"/>
          </ac:spMkLst>
        </pc:spChg>
        <pc:spChg chg="mod">
          <ac:chgData name="Umholtz, Jake" userId="68c67aa9-53c4-4aab-a03d-c07f0aadf984" providerId="ADAL" clId="{A9556D7F-CC22-4AB2-A243-FC3401A6D166}" dt="2022-08-18T21:16:43.628" v="8555"/>
          <ac:spMkLst>
            <pc:docMk/>
            <pc:sldMk cId="4141369604" sldId="675"/>
            <ac:spMk id="25" creationId="{F9CA2F10-8582-4908-929D-BAD938A2F721}"/>
          </ac:spMkLst>
        </pc:spChg>
        <pc:spChg chg="mod">
          <ac:chgData name="Umholtz, Jake" userId="68c67aa9-53c4-4aab-a03d-c07f0aadf984" providerId="ADAL" clId="{A9556D7F-CC22-4AB2-A243-FC3401A6D166}" dt="2022-08-18T21:16:43.628" v="8555"/>
          <ac:spMkLst>
            <pc:docMk/>
            <pc:sldMk cId="4141369604" sldId="675"/>
            <ac:spMk id="26" creationId="{244DD8CD-ADEB-42C5-8913-3119ADF4409F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27" creationId="{03F2DF7C-665B-4260-A59B-479B675E7B64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28" creationId="{C303C2B9-8523-4B93-A760-AC934A8EC8EC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29" creationId="{E6CCD557-6C27-47D6-8557-02B6A1023EEE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30" creationId="{53381ADC-78AC-4700-93AA-37C447F315F8}"/>
          </ac:spMkLst>
        </pc:spChg>
        <pc:spChg chg="mod">
          <ac:chgData name="Umholtz, Jake" userId="68c67aa9-53c4-4aab-a03d-c07f0aadf984" providerId="ADAL" clId="{A9556D7F-CC22-4AB2-A243-FC3401A6D166}" dt="2022-08-19T20:25:44.944" v="11181"/>
          <ac:spMkLst>
            <pc:docMk/>
            <pc:sldMk cId="4141369604" sldId="675"/>
            <ac:spMk id="31" creationId="{29F15902-5C95-40E0-BFD9-CDDAF1948121}"/>
          </ac:spMkLst>
        </pc:spChg>
        <pc:spChg chg="add mod">
          <ac:chgData name="Umholtz, Jake" userId="68c67aa9-53c4-4aab-a03d-c07f0aadf984" providerId="ADAL" clId="{A9556D7F-CC22-4AB2-A243-FC3401A6D166}" dt="2022-08-19T20:26:31.570" v="11270" actId="164"/>
          <ac:spMkLst>
            <pc:docMk/>
            <pc:sldMk cId="4141369604" sldId="675"/>
            <ac:spMk id="32" creationId="{04FA769F-1D3A-4C2B-8B71-132D6DDB8046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35" creationId="{21B141A2-9514-43F2-9ACA-23AEEABB64D2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36" creationId="{A87FF299-EC77-4471-9B13-6A058EA5B632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37" creationId="{D66BBAE7-A36F-432B-849A-66C312EA590B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38" creationId="{791F8213-0691-4811-919B-56F7C764DE34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39" creationId="{5B014342-D871-4F33-9CC0-E056B0092E91}"/>
          </ac:spMkLst>
        </pc:spChg>
        <pc:spChg chg="mod">
          <ac:chgData name="Umholtz, Jake" userId="68c67aa9-53c4-4aab-a03d-c07f0aadf984" providerId="ADAL" clId="{A9556D7F-CC22-4AB2-A243-FC3401A6D166}" dt="2022-08-19T20:27:28.288" v="11320"/>
          <ac:spMkLst>
            <pc:docMk/>
            <pc:sldMk cId="4141369604" sldId="675"/>
            <ac:spMk id="40" creationId="{1E0D1717-5BAC-48B7-8FCF-2C8F933A1E5A}"/>
          </ac:spMkLst>
        </pc:spChg>
        <pc:spChg chg="mod">
          <ac:chgData name="Umholtz, Jake" userId="68c67aa9-53c4-4aab-a03d-c07f0aadf984" providerId="ADAL" clId="{A9556D7F-CC22-4AB2-A243-FC3401A6D166}" dt="2022-08-19T20:31:56.600" v="11510" actId="1036"/>
          <ac:spMkLst>
            <pc:docMk/>
            <pc:sldMk cId="4141369604" sldId="675"/>
            <ac:spMk id="41" creationId="{0314BEF7-7930-4BA6-9A00-A41985A22CD1}"/>
          </ac:spMkLst>
        </pc:spChg>
        <pc:spChg chg="mod">
          <ac:chgData name="Umholtz, Jake" userId="68c67aa9-53c4-4aab-a03d-c07f0aadf984" providerId="ADAL" clId="{A9556D7F-CC22-4AB2-A243-FC3401A6D166}" dt="2022-08-19T20:34:15.957" v="11555" actId="403"/>
          <ac:spMkLst>
            <pc:docMk/>
            <pc:sldMk cId="4141369604" sldId="675"/>
            <ac:spMk id="42" creationId="{8CD595F8-E33B-4FF5-B1E6-F52581B8066B}"/>
          </ac:spMkLst>
        </pc:spChg>
        <pc:spChg chg="mod">
          <ac:chgData name="Umholtz, Jake" userId="68c67aa9-53c4-4aab-a03d-c07f0aadf984" providerId="ADAL" clId="{A9556D7F-CC22-4AB2-A243-FC3401A6D166}" dt="2022-08-19T20:32:59.938" v="11537" actId="1036"/>
          <ac:spMkLst>
            <pc:docMk/>
            <pc:sldMk cId="4141369604" sldId="675"/>
            <ac:spMk id="43" creationId="{479D3AFC-48E4-4B6A-997B-FEB31FDEA896}"/>
          </ac:spMkLst>
        </pc:spChg>
        <pc:spChg chg="mod">
          <ac:chgData name="Umholtz, Jake" userId="68c67aa9-53c4-4aab-a03d-c07f0aadf984" providerId="ADAL" clId="{A9556D7F-CC22-4AB2-A243-FC3401A6D166}" dt="2022-08-19T20:35:38.853" v="11567" actId="1076"/>
          <ac:spMkLst>
            <pc:docMk/>
            <pc:sldMk cId="4141369604" sldId="675"/>
            <ac:spMk id="44" creationId="{965DF6A5-1D5F-42FE-8DF5-42E30F793F4A}"/>
          </ac:spMkLst>
        </pc:spChg>
        <pc:grpChg chg="add del mod">
          <ac:chgData name="Umholtz, Jake" userId="68c67aa9-53c4-4aab-a03d-c07f0aadf984" providerId="ADAL" clId="{A9556D7F-CC22-4AB2-A243-FC3401A6D166}" dt="2022-08-19T20:27:26.326" v="11319" actId="478"/>
          <ac:grpSpMkLst>
            <pc:docMk/>
            <pc:sldMk cId="4141369604" sldId="675"/>
            <ac:grpSpMk id="4" creationId="{10FDD90B-FCF1-4A2E-885B-C33C86B55BCE}"/>
          </ac:grpSpMkLst>
        </pc:grpChg>
        <pc:grpChg chg="add del mod">
          <ac:chgData name="Umholtz, Jake" userId="68c67aa9-53c4-4aab-a03d-c07f0aadf984" providerId="ADAL" clId="{A9556D7F-CC22-4AB2-A243-FC3401A6D166}" dt="2022-08-18T21:12:21.270" v="8490" actId="478"/>
          <ac:grpSpMkLst>
            <pc:docMk/>
            <pc:sldMk cId="4141369604" sldId="675"/>
            <ac:grpSpMk id="4" creationId="{B2818662-1E06-4B96-BF35-F17CE020EE9C}"/>
          </ac:grpSpMkLst>
        </pc:grpChg>
        <pc:grpChg chg="add del mod">
          <ac:chgData name="Umholtz, Jake" userId="68c67aa9-53c4-4aab-a03d-c07f0aadf984" providerId="ADAL" clId="{A9556D7F-CC22-4AB2-A243-FC3401A6D166}" dt="2022-08-19T20:24:27.470" v="11073"/>
          <ac:grpSpMkLst>
            <pc:docMk/>
            <pc:sldMk cId="4141369604" sldId="675"/>
            <ac:grpSpMk id="12" creationId="{94CB8AA5-8F61-4908-87B3-0EBC6DFA89E2}"/>
          </ac:grpSpMkLst>
        </pc:grpChg>
        <pc:grpChg chg="add del mod">
          <ac:chgData name="Umholtz, Jake" userId="68c67aa9-53c4-4aab-a03d-c07f0aadf984" providerId="ADAL" clId="{A9556D7F-CC22-4AB2-A243-FC3401A6D166}" dt="2022-08-18T21:16:42.523" v="8554" actId="478"/>
          <ac:grpSpMkLst>
            <pc:docMk/>
            <pc:sldMk cId="4141369604" sldId="675"/>
            <ac:grpSpMk id="12" creationId="{A49FCE90-0101-44B7-9916-67A9AFFEC193}"/>
          </ac:grpSpMkLst>
        </pc:grpChg>
        <pc:grpChg chg="add del mod">
          <ac:chgData name="Umholtz, Jake" userId="68c67aa9-53c4-4aab-a03d-c07f0aadf984" providerId="ADAL" clId="{A9556D7F-CC22-4AB2-A243-FC3401A6D166}" dt="2022-08-18T21:16:41.331" v="8553" actId="478"/>
          <ac:grpSpMkLst>
            <pc:docMk/>
            <pc:sldMk cId="4141369604" sldId="675"/>
            <ac:grpSpMk id="17" creationId="{657B51BB-3A9C-4949-85B2-16561B3F59EA}"/>
          </ac:grpSpMkLst>
        </pc:grpChg>
        <pc:grpChg chg="add mod">
          <ac:chgData name="Umholtz, Jake" userId="68c67aa9-53c4-4aab-a03d-c07f0aadf984" providerId="ADAL" clId="{A9556D7F-CC22-4AB2-A243-FC3401A6D166}" dt="2022-08-19T20:26:31.570" v="11270" actId="164"/>
          <ac:grpSpMkLst>
            <pc:docMk/>
            <pc:sldMk cId="4141369604" sldId="675"/>
            <ac:grpSpMk id="17" creationId="{A6B6C86B-9B26-4C4F-9F04-816ABECDB07B}"/>
          </ac:grpSpMkLst>
        </pc:grpChg>
        <pc:grpChg chg="add mod">
          <ac:chgData name="Umholtz, Jake" userId="68c67aa9-53c4-4aab-a03d-c07f0aadf984" providerId="ADAL" clId="{A9556D7F-CC22-4AB2-A243-FC3401A6D166}" dt="2022-08-18T21:16:43.628" v="8555"/>
          <ac:grpSpMkLst>
            <pc:docMk/>
            <pc:sldMk cId="4141369604" sldId="675"/>
            <ac:grpSpMk id="22" creationId="{35AEB986-488A-43A6-B167-6E2F8F5F4709}"/>
          </ac:grpSpMkLst>
        </pc:grpChg>
        <pc:grpChg chg="add mod">
          <ac:chgData name="Umholtz, Jake" userId="68c67aa9-53c4-4aab-a03d-c07f0aadf984" providerId="ADAL" clId="{A9556D7F-CC22-4AB2-A243-FC3401A6D166}" dt="2022-08-19T20:35:08.042" v="11559" actId="14100"/>
          <ac:grpSpMkLst>
            <pc:docMk/>
            <pc:sldMk cId="4141369604" sldId="675"/>
            <ac:grpSpMk id="33" creationId="{DEC55F93-37AB-4EE6-8DF0-B384C9C4C405}"/>
          </ac:grpSpMkLst>
        </pc:grpChg>
        <pc:grpChg chg="mod">
          <ac:chgData name="Umholtz, Jake" userId="68c67aa9-53c4-4aab-a03d-c07f0aadf984" providerId="ADAL" clId="{A9556D7F-CC22-4AB2-A243-FC3401A6D166}" dt="2022-08-19T20:27:28.288" v="11320"/>
          <ac:grpSpMkLst>
            <pc:docMk/>
            <pc:sldMk cId="4141369604" sldId="675"/>
            <ac:grpSpMk id="34" creationId="{6A6F8D25-2290-45FE-9AEE-531B58363CCB}"/>
          </ac:grpSpMkLst>
        </pc:grpChg>
        <pc:picChg chg="mod">
          <ac:chgData name="Umholtz, Jake" userId="68c67aa9-53c4-4aab-a03d-c07f0aadf984" providerId="ADAL" clId="{A9556D7F-CC22-4AB2-A243-FC3401A6D166}" dt="2022-08-19T20:34:34.967" v="11556" actId="1076"/>
          <ac:picMkLst>
            <pc:docMk/>
            <pc:sldMk cId="4141369604" sldId="675"/>
            <ac:picMk id="11" creationId="{636F249F-4012-416E-A20C-78C5E839CD99}"/>
          </ac:picMkLst>
        </pc:picChg>
      </pc:sldChg>
      <pc:sldChg chg="addSp delSp modSp add mod">
        <pc:chgData name="Umholtz, Jake" userId="68c67aa9-53c4-4aab-a03d-c07f0aadf984" providerId="ADAL" clId="{A9556D7F-CC22-4AB2-A243-FC3401A6D166}" dt="2022-08-19T13:22:39.529" v="10282"/>
        <pc:sldMkLst>
          <pc:docMk/>
          <pc:sldMk cId="1701514505" sldId="676"/>
        </pc:sldMkLst>
        <pc:spChg chg="mod">
          <ac:chgData name="Umholtz, Jake" userId="68c67aa9-53c4-4aab-a03d-c07f0aadf984" providerId="ADAL" clId="{A9556D7F-CC22-4AB2-A243-FC3401A6D166}" dt="2022-08-18T18:44:00.596" v="6856" actId="20577"/>
          <ac:spMkLst>
            <pc:docMk/>
            <pc:sldMk cId="1701514505" sldId="676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3:22:19.601" v="10279"/>
          <ac:spMkLst>
            <pc:docMk/>
            <pc:sldMk cId="1701514505" sldId="676"/>
            <ac:spMk id="6" creationId="{5F025AF3-33A9-475B-A8C3-5540D558D368}"/>
          </ac:spMkLst>
        </pc:spChg>
        <pc:spChg chg="mod">
          <ac:chgData name="Umholtz, Jake" userId="68c67aa9-53c4-4aab-a03d-c07f0aadf984" providerId="ADAL" clId="{A9556D7F-CC22-4AB2-A243-FC3401A6D166}" dt="2022-08-19T13:22:19.601" v="10279"/>
          <ac:spMkLst>
            <pc:docMk/>
            <pc:sldMk cId="1701514505" sldId="676"/>
            <ac:spMk id="7" creationId="{A5C32659-D3AB-42EC-A4D4-358D079A11CD}"/>
          </ac:spMkLst>
        </pc:spChg>
        <pc:spChg chg="mod">
          <ac:chgData name="Umholtz, Jake" userId="68c67aa9-53c4-4aab-a03d-c07f0aadf984" providerId="ADAL" clId="{A9556D7F-CC22-4AB2-A243-FC3401A6D166}" dt="2022-08-19T13:22:19.601" v="10279"/>
          <ac:spMkLst>
            <pc:docMk/>
            <pc:sldMk cId="1701514505" sldId="676"/>
            <ac:spMk id="8" creationId="{04C1F8B4-37C7-4E5F-A6D0-E825DDB5046B}"/>
          </ac:spMkLst>
        </pc:spChg>
        <pc:spChg chg="mod">
          <ac:chgData name="Umholtz, Jake" userId="68c67aa9-53c4-4aab-a03d-c07f0aadf984" providerId="ADAL" clId="{A9556D7F-CC22-4AB2-A243-FC3401A6D166}" dt="2022-08-18T19:13:46.366" v="7687" actId="113"/>
          <ac:spMkLst>
            <pc:docMk/>
            <pc:sldMk cId="1701514505" sldId="676"/>
            <ac:spMk id="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3:22:19.601" v="10279"/>
          <ac:spMkLst>
            <pc:docMk/>
            <pc:sldMk cId="1701514505" sldId="676"/>
            <ac:spMk id="10" creationId="{37A46F8A-79AB-4E6E-BFED-A17BA7EFC1DE}"/>
          </ac:spMkLst>
        </pc:spChg>
        <pc:grpChg chg="add del mod">
          <ac:chgData name="Umholtz, Jake" userId="68c67aa9-53c4-4aab-a03d-c07f0aadf984" providerId="ADAL" clId="{A9556D7F-CC22-4AB2-A243-FC3401A6D166}" dt="2022-08-19T13:22:39.529" v="10282"/>
          <ac:grpSpMkLst>
            <pc:docMk/>
            <pc:sldMk cId="1701514505" sldId="676"/>
            <ac:grpSpMk id="5" creationId="{59E35424-F290-41A6-8FCD-F9646E37FF88}"/>
          </ac:grpSpMkLst>
        </pc:grpChg>
        <pc:picChg chg="mod">
          <ac:chgData name="Umholtz, Jake" userId="68c67aa9-53c4-4aab-a03d-c07f0aadf984" providerId="ADAL" clId="{A9556D7F-CC22-4AB2-A243-FC3401A6D166}" dt="2022-08-18T18:43:10.508" v="6845" actId="1076"/>
          <ac:picMkLst>
            <pc:docMk/>
            <pc:sldMk cId="1701514505" sldId="676"/>
            <ac:picMk id="4" creationId="{81D6E040-1F5B-419B-98D4-7317EF949E62}"/>
          </ac:picMkLst>
        </pc:picChg>
      </pc:sldChg>
      <pc:sldChg chg="addSp delSp modSp add mod">
        <pc:chgData name="Umholtz, Jake" userId="68c67aa9-53c4-4aab-a03d-c07f0aadf984" providerId="ADAL" clId="{A9556D7F-CC22-4AB2-A243-FC3401A6D166}" dt="2022-08-19T16:48:00.662" v="11054" actId="20577"/>
        <pc:sldMkLst>
          <pc:docMk/>
          <pc:sldMk cId="3876084295" sldId="677"/>
        </pc:sldMkLst>
        <pc:spChg chg="mod">
          <ac:chgData name="Umholtz, Jake" userId="68c67aa9-53c4-4aab-a03d-c07f0aadf984" providerId="ADAL" clId="{A9556D7F-CC22-4AB2-A243-FC3401A6D166}" dt="2022-08-18T23:14:19.563" v="9739" actId="113"/>
          <ac:spMkLst>
            <pc:docMk/>
            <pc:sldMk cId="3876084295" sldId="677"/>
            <ac:spMk id="3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8:55:33.086" v="7218" actId="20577"/>
          <ac:spMkLst>
            <pc:docMk/>
            <pc:sldMk cId="3876084295" sldId="677"/>
            <ac:spMk id="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9T16:48:00.662" v="11054" actId="20577"/>
          <ac:spMkLst>
            <pc:docMk/>
            <pc:sldMk cId="3876084295" sldId="677"/>
            <ac:spMk id="5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3:15:26.578" v="9888" actId="20577"/>
          <ac:spMkLst>
            <pc:docMk/>
            <pc:sldMk cId="3876084295" sldId="677"/>
            <ac:spMk id="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13:22:15.291" v="10278" actId="164"/>
          <ac:spMkLst>
            <pc:docMk/>
            <pc:sldMk cId="3876084295" sldId="677"/>
            <ac:spMk id="9" creationId="{9FADD88A-50B0-40FB-A912-A1870DBCEBAF}"/>
          </ac:spMkLst>
        </pc:spChg>
        <pc:spChg chg="mod topLvl">
          <ac:chgData name="Umholtz, Jake" userId="68c67aa9-53c4-4aab-a03d-c07f0aadf984" providerId="ADAL" clId="{A9556D7F-CC22-4AB2-A243-FC3401A6D166}" dt="2022-08-19T13:22:15.291" v="10278" actId="164"/>
          <ac:spMkLst>
            <pc:docMk/>
            <pc:sldMk cId="3876084295" sldId="677"/>
            <ac:spMk id="10" creationId="{A3A84835-7164-414E-A0D7-B1A162958991}"/>
          </ac:spMkLst>
        </pc:spChg>
        <pc:spChg chg="mod topLvl">
          <ac:chgData name="Umholtz, Jake" userId="68c67aa9-53c4-4aab-a03d-c07f0aadf984" providerId="ADAL" clId="{A9556D7F-CC22-4AB2-A243-FC3401A6D166}" dt="2022-08-19T13:22:15.291" v="10278" actId="164"/>
          <ac:spMkLst>
            <pc:docMk/>
            <pc:sldMk cId="3876084295" sldId="677"/>
            <ac:spMk id="11" creationId="{42BCCFBB-3DFF-42F4-8956-2D0312588ACD}"/>
          </ac:spMkLst>
        </pc:spChg>
        <pc:spChg chg="mod topLvl">
          <ac:chgData name="Umholtz, Jake" userId="68c67aa9-53c4-4aab-a03d-c07f0aadf984" providerId="ADAL" clId="{A9556D7F-CC22-4AB2-A243-FC3401A6D166}" dt="2022-08-19T13:22:15.291" v="10278" actId="164"/>
          <ac:spMkLst>
            <pc:docMk/>
            <pc:sldMk cId="3876084295" sldId="677"/>
            <ac:spMk id="12" creationId="{B1BDD450-9D16-46FD-9ADE-E9957360F0D8}"/>
          </ac:spMkLst>
        </pc:spChg>
        <pc:grpChg chg="add mod">
          <ac:chgData name="Umholtz, Jake" userId="68c67aa9-53c4-4aab-a03d-c07f0aadf984" providerId="ADAL" clId="{A9556D7F-CC22-4AB2-A243-FC3401A6D166}" dt="2022-08-19T13:22:15.291" v="10278" actId="164"/>
          <ac:grpSpMkLst>
            <pc:docMk/>
            <pc:sldMk cId="3876084295" sldId="677"/>
            <ac:grpSpMk id="2" creationId="{C93BAFB2-F12C-48CC-B5D9-AB9A63F15CBA}"/>
          </ac:grpSpMkLst>
        </pc:grpChg>
        <pc:grpChg chg="add del mod">
          <ac:chgData name="Umholtz, Jake" userId="68c67aa9-53c4-4aab-a03d-c07f0aadf984" providerId="ADAL" clId="{A9556D7F-CC22-4AB2-A243-FC3401A6D166}" dt="2022-08-18T21:17:16.367" v="8558" actId="165"/>
          <ac:grpSpMkLst>
            <pc:docMk/>
            <pc:sldMk cId="3876084295" sldId="677"/>
            <ac:grpSpMk id="7" creationId="{14143767-705D-4ACD-B62B-8E9C5FBF4077}"/>
          </ac:grpSpMkLst>
        </pc:grpChg>
      </pc:sldChg>
      <pc:sldChg chg="addSp modSp add mod modNotesTx">
        <pc:chgData name="Umholtz, Jake" userId="68c67aa9-53c4-4aab-a03d-c07f0aadf984" providerId="ADAL" clId="{A9556D7F-CC22-4AB2-A243-FC3401A6D166}" dt="2022-08-18T23:15:43.859" v="9901" actId="20577"/>
        <pc:sldMkLst>
          <pc:docMk/>
          <pc:sldMk cId="1984168158" sldId="678"/>
        </pc:sldMkLst>
        <pc:spChg chg="mod">
          <ac:chgData name="Umholtz, Jake" userId="68c67aa9-53c4-4aab-a03d-c07f0aadf984" providerId="ADAL" clId="{A9556D7F-CC22-4AB2-A243-FC3401A6D166}" dt="2022-08-18T23:15:43.859" v="9901" actId="20577"/>
          <ac:spMkLst>
            <pc:docMk/>
            <pc:sldMk cId="1984168158" sldId="678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9:15:53.334" v="7809" actId="1076"/>
          <ac:spMkLst>
            <pc:docMk/>
            <pc:sldMk cId="1984168158" sldId="678"/>
            <ac:spMk id="10" creationId="{C19D958C-16BF-40CC-953E-14E1B60C2695}"/>
          </ac:spMkLst>
        </pc:spChg>
        <pc:spChg chg="mod">
          <ac:chgData name="Umholtz, Jake" userId="68c67aa9-53c4-4aab-a03d-c07f0aadf984" providerId="ADAL" clId="{A9556D7F-CC22-4AB2-A243-FC3401A6D166}" dt="2022-08-18T21:14:16.679" v="8537"/>
          <ac:spMkLst>
            <pc:docMk/>
            <pc:sldMk cId="1984168158" sldId="678"/>
            <ac:spMk id="11" creationId="{26AC1FBD-7B77-4392-B6FE-40EFBEB4AC42}"/>
          </ac:spMkLst>
        </pc:spChg>
        <pc:spChg chg="mod">
          <ac:chgData name="Umholtz, Jake" userId="68c67aa9-53c4-4aab-a03d-c07f0aadf984" providerId="ADAL" clId="{A9556D7F-CC22-4AB2-A243-FC3401A6D166}" dt="2022-08-18T21:14:16.679" v="8537"/>
          <ac:spMkLst>
            <pc:docMk/>
            <pc:sldMk cId="1984168158" sldId="678"/>
            <ac:spMk id="12" creationId="{30CD6D7B-809A-44D8-BBBC-DAD3E26758DE}"/>
          </ac:spMkLst>
        </pc:spChg>
        <pc:spChg chg="mod">
          <ac:chgData name="Umholtz, Jake" userId="68c67aa9-53c4-4aab-a03d-c07f0aadf984" providerId="ADAL" clId="{A9556D7F-CC22-4AB2-A243-FC3401A6D166}" dt="2022-08-18T21:14:16.679" v="8537"/>
          <ac:spMkLst>
            <pc:docMk/>
            <pc:sldMk cId="1984168158" sldId="678"/>
            <ac:spMk id="13" creationId="{34DF40B7-292B-446B-BA02-3851886A25BB}"/>
          </ac:spMkLst>
        </pc:spChg>
        <pc:spChg chg="mod">
          <ac:chgData name="Umholtz, Jake" userId="68c67aa9-53c4-4aab-a03d-c07f0aadf984" providerId="ADAL" clId="{A9556D7F-CC22-4AB2-A243-FC3401A6D166}" dt="2022-08-18T21:14:16.679" v="8537"/>
          <ac:spMkLst>
            <pc:docMk/>
            <pc:sldMk cId="1984168158" sldId="678"/>
            <ac:spMk id="14" creationId="{749E51F5-B8AA-4DE6-A212-72F682545C61}"/>
          </ac:spMkLst>
        </pc:spChg>
        <pc:grpChg chg="add mod">
          <ac:chgData name="Umholtz, Jake" userId="68c67aa9-53c4-4aab-a03d-c07f0aadf984" providerId="ADAL" clId="{A9556D7F-CC22-4AB2-A243-FC3401A6D166}" dt="2022-08-18T21:14:16.679" v="8537"/>
          <ac:grpSpMkLst>
            <pc:docMk/>
            <pc:sldMk cId="1984168158" sldId="678"/>
            <ac:grpSpMk id="9" creationId="{6F4FE315-CCB0-48A9-B138-5951FDCB7D54}"/>
          </ac:grpSpMkLst>
        </pc:grpChg>
      </pc:sldChg>
      <pc:sldChg chg="addSp delSp modSp add mod">
        <pc:chgData name="Umholtz, Jake" userId="68c67aa9-53c4-4aab-a03d-c07f0aadf984" providerId="ADAL" clId="{A9556D7F-CC22-4AB2-A243-FC3401A6D166}" dt="2022-08-18T21:16:24.054" v="8550" actId="164"/>
        <pc:sldMkLst>
          <pc:docMk/>
          <pc:sldMk cId="3801684248" sldId="679"/>
        </pc:sldMkLst>
        <pc:spChg chg="mod">
          <ac:chgData name="Umholtz, Jake" userId="68c67aa9-53c4-4aab-a03d-c07f0aadf984" providerId="ADAL" clId="{A9556D7F-CC22-4AB2-A243-FC3401A6D166}" dt="2022-08-18T19:12:56.908" v="7683" actId="403"/>
          <ac:spMkLst>
            <pc:docMk/>
            <pc:sldMk cId="3801684248" sldId="679"/>
            <ac:spMk id="3" creationId="{AED30E20-1946-418A-8DDA-E16F6E7FFC07}"/>
          </ac:spMkLst>
        </pc:spChg>
        <pc:spChg chg="mod topLvl">
          <ac:chgData name="Umholtz, Jake" userId="68c67aa9-53c4-4aab-a03d-c07f0aadf984" providerId="ADAL" clId="{A9556D7F-CC22-4AB2-A243-FC3401A6D166}" dt="2022-08-18T21:16:24.054" v="8550" actId="164"/>
          <ac:spMkLst>
            <pc:docMk/>
            <pc:sldMk cId="3801684248" sldId="679"/>
            <ac:spMk id="9" creationId="{1BCB30E5-9BA3-40E0-AC30-3B789D6530C5}"/>
          </ac:spMkLst>
        </pc:spChg>
        <pc:spChg chg="mod topLvl">
          <ac:chgData name="Umholtz, Jake" userId="68c67aa9-53c4-4aab-a03d-c07f0aadf984" providerId="ADAL" clId="{A9556D7F-CC22-4AB2-A243-FC3401A6D166}" dt="2022-08-18T21:16:24.054" v="8550" actId="164"/>
          <ac:spMkLst>
            <pc:docMk/>
            <pc:sldMk cId="3801684248" sldId="679"/>
            <ac:spMk id="11" creationId="{9C8A0E1C-3F73-4E22-B049-7A5E03A4661C}"/>
          </ac:spMkLst>
        </pc:spChg>
        <pc:spChg chg="mod topLvl">
          <ac:chgData name="Umholtz, Jake" userId="68c67aa9-53c4-4aab-a03d-c07f0aadf984" providerId="ADAL" clId="{A9556D7F-CC22-4AB2-A243-FC3401A6D166}" dt="2022-08-18T21:16:24.054" v="8550" actId="164"/>
          <ac:spMkLst>
            <pc:docMk/>
            <pc:sldMk cId="3801684248" sldId="679"/>
            <ac:spMk id="12" creationId="{9E547E51-3230-4731-9475-647D4EF8E715}"/>
          </ac:spMkLst>
        </pc:spChg>
        <pc:spChg chg="mod topLvl">
          <ac:chgData name="Umholtz, Jake" userId="68c67aa9-53c4-4aab-a03d-c07f0aadf984" providerId="ADAL" clId="{A9556D7F-CC22-4AB2-A243-FC3401A6D166}" dt="2022-08-18T21:16:24.054" v="8550" actId="164"/>
          <ac:spMkLst>
            <pc:docMk/>
            <pc:sldMk cId="3801684248" sldId="679"/>
            <ac:spMk id="13" creationId="{A91BDCB4-6B6B-4BCA-BD52-FA1D5F54B356}"/>
          </ac:spMkLst>
        </pc:spChg>
        <pc:spChg chg="mod">
          <ac:chgData name="Umholtz, Jake" userId="68c67aa9-53c4-4aab-a03d-c07f0aadf984" providerId="ADAL" clId="{A9556D7F-CC22-4AB2-A243-FC3401A6D166}" dt="2022-08-18T19:05:58.465" v="7672" actId="1076"/>
          <ac:spMkLst>
            <pc:docMk/>
            <pc:sldMk cId="3801684248" sldId="679"/>
            <ac:spMk id="15" creationId="{D81D76FF-F3D9-5804-88E3-E1636A8CF1C4}"/>
          </ac:spMkLst>
        </pc:spChg>
        <pc:spChg chg="mod">
          <ac:chgData name="Umholtz, Jake" userId="68c67aa9-53c4-4aab-a03d-c07f0aadf984" providerId="ADAL" clId="{A9556D7F-CC22-4AB2-A243-FC3401A6D166}" dt="2022-08-18T19:13:19.223" v="7685" actId="1076"/>
          <ac:spMkLst>
            <pc:docMk/>
            <pc:sldMk cId="3801684248" sldId="679"/>
            <ac:spMk id="17" creationId="{89087118-613C-9A85-3F1A-FC31EAE80457}"/>
          </ac:spMkLst>
        </pc:spChg>
        <pc:grpChg chg="add mod">
          <ac:chgData name="Umholtz, Jake" userId="68c67aa9-53c4-4aab-a03d-c07f0aadf984" providerId="ADAL" clId="{A9556D7F-CC22-4AB2-A243-FC3401A6D166}" dt="2022-08-18T21:16:24.054" v="8550" actId="164"/>
          <ac:grpSpMkLst>
            <pc:docMk/>
            <pc:sldMk cId="3801684248" sldId="679"/>
            <ac:grpSpMk id="2" creationId="{53B0F4F8-2FC0-4377-AA72-096019C5916C}"/>
          </ac:grpSpMkLst>
        </pc:grpChg>
        <pc:grpChg chg="add del mod">
          <ac:chgData name="Umholtz, Jake" userId="68c67aa9-53c4-4aab-a03d-c07f0aadf984" providerId="ADAL" clId="{A9556D7F-CC22-4AB2-A243-FC3401A6D166}" dt="2022-08-18T21:15:17.050" v="8544" actId="165"/>
          <ac:grpSpMkLst>
            <pc:docMk/>
            <pc:sldMk cId="3801684248" sldId="679"/>
            <ac:grpSpMk id="7" creationId="{8A7CAD40-AFA5-408A-B5A3-F5B0F2A6CB98}"/>
          </ac:grpSpMkLst>
        </pc:grpChg>
        <pc:picChg chg="mod">
          <ac:chgData name="Umholtz, Jake" userId="68c67aa9-53c4-4aab-a03d-c07f0aadf984" providerId="ADAL" clId="{A9556D7F-CC22-4AB2-A243-FC3401A6D166}" dt="2022-08-18T19:12:16.800" v="7676" actId="14100"/>
          <ac:picMkLst>
            <pc:docMk/>
            <pc:sldMk cId="3801684248" sldId="679"/>
            <ac:picMk id="10" creationId="{416BE93B-28AD-4E77-921A-3DBF2C62BB8B}"/>
          </ac:picMkLst>
        </pc:picChg>
      </pc:sldChg>
      <pc:sldChg chg="addSp delSp modSp mod">
        <pc:chgData name="Umholtz, Jake" userId="68c67aa9-53c4-4aab-a03d-c07f0aadf984" providerId="ADAL" clId="{A9556D7F-CC22-4AB2-A243-FC3401A6D166}" dt="2022-08-18T23:16:06.314" v="9936" actId="20577"/>
        <pc:sldMkLst>
          <pc:docMk/>
          <pc:sldMk cId="3923910200" sldId="680"/>
        </pc:sldMkLst>
        <pc:spChg chg="mod">
          <ac:chgData name="Umholtz, Jake" userId="68c67aa9-53c4-4aab-a03d-c07f0aadf984" providerId="ADAL" clId="{A9556D7F-CC22-4AB2-A243-FC3401A6D166}" dt="2022-08-18T23:16:06.314" v="9936" actId="20577"/>
          <ac:spMkLst>
            <pc:docMk/>
            <pc:sldMk cId="3923910200" sldId="680"/>
            <ac:spMk id="2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19:15:41.216" v="7807" actId="20577"/>
          <ac:spMkLst>
            <pc:docMk/>
            <pc:sldMk cId="3923910200" sldId="680"/>
            <ac:spMk id="7" creationId="{EAB3F2BB-9D0B-420F-B78F-A13D0DA5D4E1}"/>
          </ac:spMkLst>
        </pc:spChg>
        <pc:spChg chg="mod">
          <ac:chgData name="Umholtz, Jake" userId="68c67aa9-53c4-4aab-a03d-c07f0aadf984" providerId="ADAL" clId="{A9556D7F-CC22-4AB2-A243-FC3401A6D166}" dt="2022-08-18T18:54:27.025" v="7186" actId="113"/>
          <ac:spMkLst>
            <pc:docMk/>
            <pc:sldMk cId="3923910200" sldId="680"/>
            <ac:spMk id="9" creationId="{48F07846-B713-4DA4-A2A6-DD37FFB87D40}"/>
          </ac:spMkLst>
        </pc:spChg>
        <pc:spChg chg="add del mod">
          <ac:chgData name="Umholtz, Jake" userId="68c67aa9-53c4-4aab-a03d-c07f0aadf984" providerId="ADAL" clId="{A9556D7F-CC22-4AB2-A243-FC3401A6D166}" dt="2022-08-18T18:54:26.103" v="7185"/>
          <ac:spMkLst>
            <pc:docMk/>
            <pc:sldMk cId="3923910200" sldId="680"/>
            <ac:spMk id="10" creationId="{3EC849E4-7C5E-42E5-AB59-CBC8E864F9A2}"/>
          </ac:spMkLst>
        </pc:spChg>
        <pc:spChg chg="mod">
          <ac:chgData name="Umholtz, Jake" userId="68c67aa9-53c4-4aab-a03d-c07f0aadf984" providerId="ADAL" clId="{A9556D7F-CC22-4AB2-A243-FC3401A6D166}" dt="2022-08-18T21:14:20.482" v="8538"/>
          <ac:spMkLst>
            <pc:docMk/>
            <pc:sldMk cId="3923910200" sldId="680"/>
            <ac:spMk id="12" creationId="{DB1FEE15-4194-44FC-BCD9-604A676F0308}"/>
          </ac:spMkLst>
        </pc:spChg>
        <pc:spChg chg="mod">
          <ac:chgData name="Umholtz, Jake" userId="68c67aa9-53c4-4aab-a03d-c07f0aadf984" providerId="ADAL" clId="{A9556D7F-CC22-4AB2-A243-FC3401A6D166}" dt="2022-08-18T21:14:20.482" v="8538"/>
          <ac:spMkLst>
            <pc:docMk/>
            <pc:sldMk cId="3923910200" sldId="680"/>
            <ac:spMk id="13" creationId="{8F32D5BB-CCFD-40CC-9417-8BBFA148ED3A}"/>
          </ac:spMkLst>
        </pc:spChg>
        <pc:spChg chg="mod">
          <ac:chgData name="Umholtz, Jake" userId="68c67aa9-53c4-4aab-a03d-c07f0aadf984" providerId="ADAL" clId="{A9556D7F-CC22-4AB2-A243-FC3401A6D166}" dt="2022-08-18T21:14:20.482" v="8538"/>
          <ac:spMkLst>
            <pc:docMk/>
            <pc:sldMk cId="3923910200" sldId="680"/>
            <ac:spMk id="14" creationId="{F31A1FE1-1526-4BA8-A606-36853E0EA656}"/>
          </ac:spMkLst>
        </pc:spChg>
        <pc:spChg chg="mod">
          <ac:chgData name="Umholtz, Jake" userId="68c67aa9-53c4-4aab-a03d-c07f0aadf984" providerId="ADAL" clId="{A9556D7F-CC22-4AB2-A243-FC3401A6D166}" dt="2022-08-18T21:14:20.482" v="8538"/>
          <ac:spMkLst>
            <pc:docMk/>
            <pc:sldMk cId="3923910200" sldId="680"/>
            <ac:spMk id="15" creationId="{39801C24-6239-4823-8A3A-91CADC3CA594}"/>
          </ac:spMkLst>
        </pc:spChg>
        <pc:grpChg chg="add mod">
          <ac:chgData name="Umholtz, Jake" userId="68c67aa9-53c4-4aab-a03d-c07f0aadf984" providerId="ADAL" clId="{A9556D7F-CC22-4AB2-A243-FC3401A6D166}" dt="2022-08-18T21:14:20.482" v="8538"/>
          <ac:grpSpMkLst>
            <pc:docMk/>
            <pc:sldMk cId="3923910200" sldId="680"/>
            <ac:grpSpMk id="11" creationId="{898B02C5-1EBF-4D8C-BFA8-CB886E0CB1DB}"/>
          </ac:grpSpMkLst>
        </pc:grpChg>
      </pc:sldChg>
      <pc:sldChg chg="addSp delSp modSp add mod modNotesTx">
        <pc:chgData name="Umholtz, Jake" userId="68c67aa9-53c4-4aab-a03d-c07f0aadf984" providerId="ADAL" clId="{A9556D7F-CC22-4AB2-A243-FC3401A6D166}" dt="2022-08-18T23:14:05.171" v="9738" actId="20577"/>
        <pc:sldMkLst>
          <pc:docMk/>
          <pc:sldMk cId="3436680573" sldId="681"/>
        </pc:sldMkLst>
        <pc:spChg chg="mod">
          <ac:chgData name="Umholtz, Jake" userId="68c67aa9-53c4-4aab-a03d-c07f0aadf984" providerId="ADAL" clId="{A9556D7F-CC22-4AB2-A243-FC3401A6D166}" dt="2022-08-18T23:11:23.080" v="9613" actId="20577"/>
          <ac:spMkLst>
            <pc:docMk/>
            <pc:sldMk cId="3436680573" sldId="681"/>
            <ac:spMk id="3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1:21:37.649" v="8600" actId="1076"/>
          <ac:spMkLst>
            <pc:docMk/>
            <pc:sldMk cId="3436680573" sldId="681"/>
            <ac:spMk id="4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8T18:25:25.666" v="6499"/>
          <ac:spMkLst>
            <pc:docMk/>
            <pc:sldMk cId="3436680573" sldId="681"/>
            <ac:spMk id="5" creationId="{7B4CC3EC-A448-4321-B415-76E4C92AFCF3}"/>
          </ac:spMkLst>
        </pc:spChg>
        <pc:spChg chg="mod">
          <ac:chgData name="Umholtz, Jake" userId="68c67aa9-53c4-4aab-a03d-c07f0aadf984" providerId="ADAL" clId="{A9556D7F-CC22-4AB2-A243-FC3401A6D166}" dt="2022-08-18T23:14:05.171" v="9738" actId="20577"/>
          <ac:spMkLst>
            <pc:docMk/>
            <pc:sldMk cId="3436680573" sldId="681"/>
            <ac:spMk id="6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8T18:25:25.666" v="6499"/>
          <ac:spMkLst>
            <pc:docMk/>
            <pc:sldMk cId="3436680573" sldId="681"/>
            <ac:spMk id="7" creationId="{57559201-C6A2-4F0A-86AC-01506829C3B6}"/>
          </ac:spMkLst>
        </pc:spChg>
        <pc:spChg chg="add del mod">
          <ac:chgData name="Umholtz, Jake" userId="68c67aa9-53c4-4aab-a03d-c07f0aadf984" providerId="ADAL" clId="{A9556D7F-CC22-4AB2-A243-FC3401A6D166}" dt="2022-08-18T18:25:25.666" v="6499"/>
          <ac:spMkLst>
            <pc:docMk/>
            <pc:sldMk cId="3436680573" sldId="681"/>
            <ac:spMk id="8" creationId="{7180D004-B9AF-4B12-9B21-4C63CAFD5AAB}"/>
          </ac:spMkLst>
        </pc:spChg>
        <pc:spChg chg="add del mod">
          <ac:chgData name="Umholtz, Jake" userId="68c67aa9-53c4-4aab-a03d-c07f0aadf984" providerId="ADAL" clId="{A9556D7F-CC22-4AB2-A243-FC3401A6D166}" dt="2022-08-18T18:25:35.339" v="6502"/>
          <ac:spMkLst>
            <pc:docMk/>
            <pc:sldMk cId="3436680573" sldId="681"/>
            <ac:spMk id="9" creationId="{F1037742-AE74-42A8-A690-30107006AB20}"/>
          </ac:spMkLst>
        </pc:spChg>
        <pc:spChg chg="add del mod">
          <ac:chgData name="Umholtz, Jake" userId="68c67aa9-53c4-4aab-a03d-c07f0aadf984" providerId="ADAL" clId="{A9556D7F-CC22-4AB2-A243-FC3401A6D166}" dt="2022-08-18T18:25:35.339" v="6502"/>
          <ac:spMkLst>
            <pc:docMk/>
            <pc:sldMk cId="3436680573" sldId="681"/>
            <ac:spMk id="10" creationId="{E2C47FB3-4998-4CF0-9CBE-CD144707B2A2}"/>
          </ac:spMkLst>
        </pc:spChg>
        <pc:spChg chg="add del mod">
          <ac:chgData name="Umholtz, Jake" userId="68c67aa9-53c4-4aab-a03d-c07f0aadf984" providerId="ADAL" clId="{A9556D7F-CC22-4AB2-A243-FC3401A6D166}" dt="2022-08-18T18:25:35.339" v="6502"/>
          <ac:spMkLst>
            <pc:docMk/>
            <pc:sldMk cId="3436680573" sldId="681"/>
            <ac:spMk id="11" creationId="{504DFE55-3D45-4BA7-BA63-C8BB87E69F0F}"/>
          </ac:spMkLst>
        </pc:spChg>
        <pc:spChg chg="add del mod">
          <ac:chgData name="Umholtz, Jake" userId="68c67aa9-53c4-4aab-a03d-c07f0aadf984" providerId="ADAL" clId="{A9556D7F-CC22-4AB2-A243-FC3401A6D166}" dt="2022-08-18T18:25:59.549" v="6548" actId="478"/>
          <ac:spMkLst>
            <pc:docMk/>
            <pc:sldMk cId="3436680573" sldId="681"/>
            <ac:spMk id="12" creationId="{F940A0EE-3E23-4245-A6E5-7BEEB2EC830D}"/>
          </ac:spMkLst>
        </pc:spChg>
        <pc:spChg chg="add del mod">
          <ac:chgData name="Umholtz, Jake" userId="68c67aa9-53c4-4aab-a03d-c07f0aadf984" providerId="ADAL" clId="{A9556D7F-CC22-4AB2-A243-FC3401A6D166}" dt="2022-08-18T18:25:59.549" v="6548" actId="478"/>
          <ac:spMkLst>
            <pc:docMk/>
            <pc:sldMk cId="3436680573" sldId="681"/>
            <ac:spMk id="13" creationId="{48C9D88B-4854-4203-A324-8AB3A28D96D5}"/>
          </ac:spMkLst>
        </pc:spChg>
        <pc:spChg chg="add del mod">
          <ac:chgData name="Umholtz, Jake" userId="68c67aa9-53c4-4aab-a03d-c07f0aadf984" providerId="ADAL" clId="{A9556D7F-CC22-4AB2-A243-FC3401A6D166}" dt="2022-08-18T18:25:59.549" v="6548" actId="478"/>
          <ac:spMkLst>
            <pc:docMk/>
            <pc:sldMk cId="3436680573" sldId="681"/>
            <ac:spMk id="14" creationId="{70CD888F-3AF3-42C0-9080-15621E7F5201}"/>
          </ac:spMkLst>
        </pc:spChg>
        <pc:spChg chg="add mod">
          <ac:chgData name="Umholtz, Jake" userId="68c67aa9-53c4-4aab-a03d-c07f0aadf984" providerId="ADAL" clId="{A9556D7F-CC22-4AB2-A243-FC3401A6D166}" dt="2022-08-18T21:21:24.093" v="8597" actId="164"/>
          <ac:spMkLst>
            <pc:docMk/>
            <pc:sldMk cId="3436680573" sldId="681"/>
            <ac:spMk id="15" creationId="{78BABBB4-8412-4A62-A26D-A6980AC9BDB5}"/>
          </ac:spMkLst>
        </pc:spChg>
        <pc:spChg chg="add mod">
          <ac:chgData name="Umholtz, Jake" userId="68c67aa9-53c4-4aab-a03d-c07f0aadf984" providerId="ADAL" clId="{A9556D7F-CC22-4AB2-A243-FC3401A6D166}" dt="2022-08-18T21:21:24.093" v="8597" actId="164"/>
          <ac:spMkLst>
            <pc:docMk/>
            <pc:sldMk cId="3436680573" sldId="681"/>
            <ac:spMk id="16" creationId="{AC396C2B-B068-4862-A916-A38C4D881F66}"/>
          </ac:spMkLst>
        </pc:spChg>
        <pc:spChg chg="add mod">
          <ac:chgData name="Umholtz, Jake" userId="68c67aa9-53c4-4aab-a03d-c07f0aadf984" providerId="ADAL" clId="{A9556D7F-CC22-4AB2-A243-FC3401A6D166}" dt="2022-08-18T21:21:24.093" v="8597" actId="164"/>
          <ac:spMkLst>
            <pc:docMk/>
            <pc:sldMk cId="3436680573" sldId="681"/>
            <ac:spMk id="17" creationId="{EF388657-CA66-4DAD-AB0B-36363D1F33B6}"/>
          </ac:spMkLst>
        </pc:spChg>
        <pc:spChg chg="mod">
          <ac:chgData name="Umholtz, Jake" userId="68c67aa9-53c4-4aab-a03d-c07f0aadf984" providerId="ADAL" clId="{A9556D7F-CC22-4AB2-A243-FC3401A6D166}" dt="2022-08-18T21:13:34.017" v="8534"/>
          <ac:spMkLst>
            <pc:docMk/>
            <pc:sldMk cId="3436680573" sldId="681"/>
            <ac:spMk id="19" creationId="{B510413C-148D-4646-A978-7BDE7ECA11F8}"/>
          </ac:spMkLst>
        </pc:spChg>
        <pc:spChg chg="mod">
          <ac:chgData name="Umholtz, Jake" userId="68c67aa9-53c4-4aab-a03d-c07f0aadf984" providerId="ADAL" clId="{A9556D7F-CC22-4AB2-A243-FC3401A6D166}" dt="2022-08-18T21:13:34.017" v="8534"/>
          <ac:spMkLst>
            <pc:docMk/>
            <pc:sldMk cId="3436680573" sldId="681"/>
            <ac:spMk id="20" creationId="{DC039C11-9385-4DDD-BB1D-E47C00B288EC}"/>
          </ac:spMkLst>
        </pc:spChg>
        <pc:spChg chg="mod">
          <ac:chgData name="Umholtz, Jake" userId="68c67aa9-53c4-4aab-a03d-c07f0aadf984" providerId="ADAL" clId="{A9556D7F-CC22-4AB2-A243-FC3401A6D166}" dt="2022-08-18T21:13:34.017" v="8534"/>
          <ac:spMkLst>
            <pc:docMk/>
            <pc:sldMk cId="3436680573" sldId="681"/>
            <ac:spMk id="21" creationId="{115B3290-1358-443F-B0C9-43E7E43BA2B4}"/>
          </ac:spMkLst>
        </pc:spChg>
        <pc:spChg chg="mod">
          <ac:chgData name="Umholtz, Jake" userId="68c67aa9-53c4-4aab-a03d-c07f0aadf984" providerId="ADAL" clId="{A9556D7F-CC22-4AB2-A243-FC3401A6D166}" dt="2022-08-18T21:13:34.017" v="8534"/>
          <ac:spMkLst>
            <pc:docMk/>
            <pc:sldMk cId="3436680573" sldId="681"/>
            <ac:spMk id="22" creationId="{8DDE0F6C-965E-499B-ADDC-972383768E73}"/>
          </ac:spMkLst>
        </pc:spChg>
        <pc:spChg chg="mod">
          <ac:chgData name="Umholtz, Jake" userId="68c67aa9-53c4-4aab-a03d-c07f0aadf984" providerId="ADAL" clId="{A9556D7F-CC22-4AB2-A243-FC3401A6D166}" dt="2022-08-18T21:16:48.690" v="8557"/>
          <ac:spMkLst>
            <pc:docMk/>
            <pc:sldMk cId="3436680573" sldId="681"/>
            <ac:spMk id="24" creationId="{B1C25250-9EAF-48F1-A4C7-9D0F126E6984}"/>
          </ac:spMkLst>
        </pc:spChg>
        <pc:spChg chg="mod">
          <ac:chgData name="Umholtz, Jake" userId="68c67aa9-53c4-4aab-a03d-c07f0aadf984" providerId="ADAL" clId="{A9556D7F-CC22-4AB2-A243-FC3401A6D166}" dt="2022-08-18T21:16:48.690" v="8557"/>
          <ac:spMkLst>
            <pc:docMk/>
            <pc:sldMk cId="3436680573" sldId="681"/>
            <ac:spMk id="25" creationId="{BE4D0271-DC40-4A5A-AAA4-9DF6E7001A71}"/>
          </ac:spMkLst>
        </pc:spChg>
        <pc:spChg chg="mod">
          <ac:chgData name="Umholtz, Jake" userId="68c67aa9-53c4-4aab-a03d-c07f0aadf984" providerId="ADAL" clId="{A9556D7F-CC22-4AB2-A243-FC3401A6D166}" dt="2022-08-18T21:16:48.690" v="8557"/>
          <ac:spMkLst>
            <pc:docMk/>
            <pc:sldMk cId="3436680573" sldId="681"/>
            <ac:spMk id="26" creationId="{B313DE70-2EE1-443C-BADC-92E596A3D7F6}"/>
          </ac:spMkLst>
        </pc:spChg>
        <pc:spChg chg="mod">
          <ac:chgData name="Umholtz, Jake" userId="68c67aa9-53c4-4aab-a03d-c07f0aadf984" providerId="ADAL" clId="{A9556D7F-CC22-4AB2-A243-FC3401A6D166}" dt="2022-08-18T21:16:48.690" v="8557"/>
          <ac:spMkLst>
            <pc:docMk/>
            <pc:sldMk cId="3436680573" sldId="681"/>
            <ac:spMk id="27" creationId="{8E0A5AF3-8774-4181-A475-F384467838DD}"/>
          </ac:spMkLst>
        </pc:spChg>
        <pc:grpChg chg="add mod">
          <ac:chgData name="Umholtz, Jake" userId="68c67aa9-53c4-4aab-a03d-c07f0aadf984" providerId="ADAL" clId="{A9556D7F-CC22-4AB2-A243-FC3401A6D166}" dt="2022-08-18T21:21:34.874" v="8599" actId="1076"/>
          <ac:grpSpMkLst>
            <pc:docMk/>
            <pc:sldMk cId="3436680573" sldId="681"/>
            <ac:grpSpMk id="2" creationId="{E0D5A519-C914-449E-B11B-76DCC4D1F48D}"/>
          </ac:grpSpMkLst>
        </pc:grpChg>
        <pc:grpChg chg="add del mod">
          <ac:chgData name="Umholtz, Jake" userId="68c67aa9-53c4-4aab-a03d-c07f0aadf984" providerId="ADAL" clId="{A9556D7F-CC22-4AB2-A243-FC3401A6D166}" dt="2022-08-18T21:16:47.811" v="8556" actId="478"/>
          <ac:grpSpMkLst>
            <pc:docMk/>
            <pc:sldMk cId="3436680573" sldId="681"/>
            <ac:grpSpMk id="18" creationId="{48DECD9E-84B2-4216-8472-F613B9A9D5A2}"/>
          </ac:grpSpMkLst>
        </pc:grpChg>
        <pc:grpChg chg="add mod">
          <ac:chgData name="Umholtz, Jake" userId="68c67aa9-53c4-4aab-a03d-c07f0aadf984" providerId="ADAL" clId="{A9556D7F-CC22-4AB2-A243-FC3401A6D166}" dt="2022-08-18T21:16:48.690" v="8557"/>
          <ac:grpSpMkLst>
            <pc:docMk/>
            <pc:sldMk cId="3436680573" sldId="681"/>
            <ac:grpSpMk id="23" creationId="{81FB505A-B323-4C72-85D0-09BBCC54B05C}"/>
          </ac:grpSpMkLst>
        </pc:grpChg>
      </pc:sldChg>
      <pc:sldChg chg="add del">
        <pc:chgData name="Umholtz, Jake" userId="68c67aa9-53c4-4aab-a03d-c07f0aadf984" providerId="ADAL" clId="{A9556D7F-CC22-4AB2-A243-FC3401A6D166}" dt="2022-08-18T18:28:12.720" v="6681" actId="47"/>
        <pc:sldMkLst>
          <pc:docMk/>
          <pc:sldMk cId="488894441" sldId="682"/>
        </pc:sldMkLst>
      </pc:sldChg>
      <pc:sldChg chg="modSp mod">
        <pc:chgData name="Umholtz, Jake" userId="68c67aa9-53c4-4aab-a03d-c07f0aadf984" providerId="ADAL" clId="{A9556D7F-CC22-4AB2-A243-FC3401A6D166}" dt="2022-08-18T19:21:08.619" v="7880" actId="115"/>
        <pc:sldMkLst>
          <pc:docMk/>
          <pc:sldMk cId="3470529705" sldId="682"/>
        </pc:sldMkLst>
        <pc:spChg chg="mod">
          <ac:chgData name="Umholtz, Jake" userId="68c67aa9-53c4-4aab-a03d-c07f0aadf984" providerId="ADAL" clId="{A9556D7F-CC22-4AB2-A243-FC3401A6D166}" dt="2022-08-18T19:21:08.619" v="7880" actId="115"/>
          <ac:spMkLst>
            <pc:docMk/>
            <pc:sldMk cId="3470529705" sldId="682"/>
            <ac:spMk id="9" creationId="{CD07A0D3-435C-6605-7050-C2B03121D2AE}"/>
          </ac:spMkLst>
        </pc:spChg>
        <pc:spChg chg="mod">
          <ac:chgData name="Umholtz, Jake" userId="68c67aa9-53c4-4aab-a03d-c07f0aadf984" providerId="ADAL" clId="{A9556D7F-CC22-4AB2-A243-FC3401A6D166}" dt="2022-08-18T18:53:27.490" v="7168" actId="1076"/>
          <ac:spMkLst>
            <pc:docMk/>
            <pc:sldMk cId="3470529705" sldId="682"/>
            <ac:spMk id="20" creationId="{E1CFD9EF-724A-4949-B697-38140BBA2958}"/>
          </ac:spMkLst>
        </pc:spChg>
      </pc:sldChg>
      <pc:sldChg chg="addSp delSp modSp add del mod ord">
        <pc:chgData name="Umholtz, Jake" userId="68c67aa9-53c4-4aab-a03d-c07f0aadf984" providerId="ADAL" clId="{A9556D7F-CC22-4AB2-A243-FC3401A6D166}" dt="2022-08-18T18:45:57.272" v="6876" actId="47"/>
        <pc:sldMkLst>
          <pc:docMk/>
          <pc:sldMk cId="3004575767" sldId="683"/>
        </pc:sldMkLst>
        <pc:spChg chg="mod">
          <ac:chgData name="Umholtz, Jake" userId="68c67aa9-53c4-4aab-a03d-c07f0aadf984" providerId="ADAL" clId="{A9556D7F-CC22-4AB2-A243-FC3401A6D166}" dt="2022-08-18T18:43:49.478" v="6854" actId="1076"/>
          <ac:spMkLst>
            <pc:docMk/>
            <pc:sldMk cId="3004575767" sldId="683"/>
            <ac:spMk id="2" creationId="{00000000-0000-0000-0000-000000000000}"/>
          </ac:spMkLst>
        </pc:spChg>
        <pc:spChg chg="add del mod">
          <ac:chgData name="Umholtz, Jake" userId="68c67aa9-53c4-4aab-a03d-c07f0aadf984" providerId="ADAL" clId="{A9556D7F-CC22-4AB2-A243-FC3401A6D166}" dt="2022-08-18T18:41:49.466" v="6807"/>
          <ac:spMkLst>
            <pc:docMk/>
            <pc:sldMk cId="3004575767" sldId="683"/>
            <ac:spMk id="6" creationId="{57A1A242-5E8D-45D0-A764-CD27365C218A}"/>
          </ac:spMkLst>
        </pc:spChg>
        <pc:spChg chg="mod">
          <ac:chgData name="Umholtz, Jake" userId="68c67aa9-53c4-4aab-a03d-c07f0aadf984" providerId="ADAL" clId="{A9556D7F-CC22-4AB2-A243-FC3401A6D166}" dt="2022-08-18T18:43:40.823" v="6850" actId="403"/>
          <ac:spMkLst>
            <pc:docMk/>
            <pc:sldMk cId="3004575767" sldId="683"/>
            <ac:spMk id="9" creationId="{00000000-0000-0000-0000-000000000000}"/>
          </ac:spMkLst>
        </pc:spChg>
        <pc:picChg chg="add del mod">
          <ac:chgData name="Umholtz, Jake" userId="68c67aa9-53c4-4aab-a03d-c07f0aadf984" providerId="ADAL" clId="{A9556D7F-CC22-4AB2-A243-FC3401A6D166}" dt="2022-08-18T18:42:20.198" v="6835" actId="478"/>
          <ac:picMkLst>
            <pc:docMk/>
            <pc:sldMk cId="3004575767" sldId="683"/>
            <ac:picMk id="3" creationId="{D99643BD-E014-46EB-8E13-235524360F20}"/>
          </ac:picMkLst>
        </pc:picChg>
        <pc:picChg chg="del">
          <ac:chgData name="Umholtz, Jake" userId="68c67aa9-53c4-4aab-a03d-c07f0aadf984" providerId="ADAL" clId="{A9556D7F-CC22-4AB2-A243-FC3401A6D166}" dt="2022-08-18T18:41:34.432" v="6802" actId="478"/>
          <ac:picMkLst>
            <pc:docMk/>
            <pc:sldMk cId="3004575767" sldId="683"/>
            <ac:picMk id="4" creationId="{81D6E040-1F5B-419B-98D4-7317EF949E62}"/>
          </ac:picMkLst>
        </pc:picChg>
        <pc:picChg chg="add mod">
          <ac:chgData name="Umholtz, Jake" userId="68c67aa9-53c4-4aab-a03d-c07f0aadf984" providerId="ADAL" clId="{A9556D7F-CC22-4AB2-A243-FC3401A6D166}" dt="2022-08-18T18:42:40.345" v="6842" actId="1440"/>
          <ac:picMkLst>
            <pc:docMk/>
            <pc:sldMk cId="3004575767" sldId="683"/>
            <ac:picMk id="5" creationId="{5D2D05FA-426A-426B-8317-496AD44EC941}"/>
          </ac:picMkLst>
        </pc:picChg>
      </pc:sldChg>
      <pc:sldChg chg="addSp delSp modSp new mod">
        <pc:chgData name="Umholtz, Jake" userId="68c67aa9-53c4-4aab-a03d-c07f0aadf984" providerId="ADAL" clId="{A9556D7F-CC22-4AB2-A243-FC3401A6D166}" dt="2022-08-19T13:22:37.054" v="10281"/>
        <pc:sldMkLst>
          <pc:docMk/>
          <pc:sldMk cId="603201446" sldId="684"/>
        </pc:sldMkLst>
        <pc:spChg chg="del">
          <ac:chgData name="Umholtz, Jake" userId="68c67aa9-53c4-4aab-a03d-c07f0aadf984" providerId="ADAL" clId="{A9556D7F-CC22-4AB2-A243-FC3401A6D166}" dt="2022-08-18T18:45:13.361" v="6866" actId="478"/>
          <ac:spMkLst>
            <pc:docMk/>
            <pc:sldMk cId="603201446" sldId="684"/>
            <ac:spMk id="2" creationId="{A725DCCD-8FE9-4B5E-A0BA-67430D6E661C}"/>
          </ac:spMkLst>
        </pc:spChg>
        <pc:spChg chg="del">
          <ac:chgData name="Umholtz, Jake" userId="68c67aa9-53c4-4aab-a03d-c07f0aadf984" providerId="ADAL" clId="{A9556D7F-CC22-4AB2-A243-FC3401A6D166}" dt="2022-08-18T18:45:15.250" v="6867" actId="478"/>
          <ac:spMkLst>
            <pc:docMk/>
            <pc:sldMk cId="603201446" sldId="684"/>
            <ac:spMk id="3" creationId="{0BFA6806-0DCB-4492-9712-14D73F443589}"/>
          </ac:spMkLst>
        </pc:spChg>
        <pc:spChg chg="add del mod">
          <ac:chgData name="Umholtz, Jake" userId="68c67aa9-53c4-4aab-a03d-c07f0aadf984" providerId="ADAL" clId="{A9556D7F-CC22-4AB2-A243-FC3401A6D166}" dt="2022-08-18T18:45:48.541" v="6872"/>
          <ac:spMkLst>
            <pc:docMk/>
            <pc:sldMk cId="603201446" sldId="684"/>
            <ac:spMk id="5" creationId="{9ECA9310-E396-4E10-BB99-9246FC3799CB}"/>
          </ac:spMkLst>
        </pc:spChg>
        <pc:spChg chg="mod">
          <ac:chgData name="Umholtz, Jake" userId="68c67aa9-53c4-4aab-a03d-c07f0aadf984" providerId="ADAL" clId="{A9556D7F-CC22-4AB2-A243-FC3401A6D166}" dt="2022-08-19T13:22:29.022" v="10280"/>
          <ac:spMkLst>
            <pc:docMk/>
            <pc:sldMk cId="603201446" sldId="684"/>
            <ac:spMk id="6" creationId="{D6DDCA6E-9B38-4C98-B502-9BE8B6CB91B7}"/>
          </ac:spMkLst>
        </pc:spChg>
        <pc:spChg chg="add del mod">
          <ac:chgData name="Umholtz, Jake" userId="68c67aa9-53c4-4aab-a03d-c07f0aadf984" providerId="ADAL" clId="{A9556D7F-CC22-4AB2-A243-FC3401A6D166}" dt="2022-08-18T18:45:48.541" v="6872"/>
          <ac:spMkLst>
            <pc:docMk/>
            <pc:sldMk cId="603201446" sldId="684"/>
            <ac:spMk id="6" creationId="{EF5CBFF1-4B1C-43BB-BCC4-3CDB52033186}"/>
          </ac:spMkLst>
        </pc:spChg>
        <pc:spChg chg="mod">
          <ac:chgData name="Umholtz, Jake" userId="68c67aa9-53c4-4aab-a03d-c07f0aadf984" providerId="ADAL" clId="{A9556D7F-CC22-4AB2-A243-FC3401A6D166}" dt="2022-08-19T13:22:29.022" v="10280"/>
          <ac:spMkLst>
            <pc:docMk/>
            <pc:sldMk cId="603201446" sldId="684"/>
            <ac:spMk id="7" creationId="{7D9D3708-0B31-4569-896E-67BFA403B54C}"/>
          </ac:spMkLst>
        </pc:spChg>
        <pc:spChg chg="mod">
          <ac:chgData name="Umholtz, Jake" userId="68c67aa9-53c4-4aab-a03d-c07f0aadf984" providerId="ADAL" clId="{A9556D7F-CC22-4AB2-A243-FC3401A6D166}" dt="2022-08-19T13:22:29.022" v="10280"/>
          <ac:spMkLst>
            <pc:docMk/>
            <pc:sldMk cId="603201446" sldId="684"/>
            <ac:spMk id="8" creationId="{614C6A64-FB4F-4001-8A5F-AE2B9A63CA2C}"/>
          </ac:spMkLst>
        </pc:spChg>
        <pc:spChg chg="add del mod">
          <ac:chgData name="Umholtz, Jake" userId="68c67aa9-53c4-4aab-a03d-c07f0aadf984" providerId="ADAL" clId="{A9556D7F-CC22-4AB2-A243-FC3401A6D166}" dt="2022-08-18T18:46:21.900" v="6878"/>
          <ac:spMkLst>
            <pc:docMk/>
            <pc:sldMk cId="603201446" sldId="684"/>
            <ac:spMk id="8" creationId="{DFB3C661-394A-4CCE-9496-F793F65D5770}"/>
          </ac:spMkLst>
        </pc:spChg>
        <pc:spChg chg="mod">
          <ac:chgData name="Umholtz, Jake" userId="68c67aa9-53c4-4aab-a03d-c07f0aadf984" providerId="ADAL" clId="{A9556D7F-CC22-4AB2-A243-FC3401A6D166}" dt="2022-08-19T13:22:29.022" v="10280"/>
          <ac:spMkLst>
            <pc:docMk/>
            <pc:sldMk cId="603201446" sldId="684"/>
            <ac:spMk id="9" creationId="{C3E55DC4-D2C3-4D50-A105-424DB3679441}"/>
          </ac:spMkLst>
        </pc:spChg>
        <pc:spChg chg="add mod">
          <ac:chgData name="Umholtz, Jake" userId="68c67aa9-53c4-4aab-a03d-c07f0aadf984" providerId="ADAL" clId="{A9556D7F-CC22-4AB2-A243-FC3401A6D166}" dt="2022-08-18T19:10:47.856" v="7675" actId="1076"/>
          <ac:spMkLst>
            <pc:docMk/>
            <pc:sldMk cId="603201446" sldId="684"/>
            <ac:spMk id="10" creationId="{76BD0526-8B39-4EE1-9368-326203CFBA52}"/>
          </ac:spMkLst>
        </pc:spChg>
        <pc:spChg chg="add del mod">
          <ac:chgData name="Umholtz, Jake" userId="68c67aa9-53c4-4aab-a03d-c07f0aadf984" providerId="ADAL" clId="{A9556D7F-CC22-4AB2-A243-FC3401A6D166}" dt="2022-08-18T18:49:03.876" v="7124" actId="478"/>
          <ac:spMkLst>
            <pc:docMk/>
            <pc:sldMk cId="603201446" sldId="684"/>
            <ac:spMk id="11" creationId="{D55A6CB2-21C3-4CF2-AC9B-D1A4B7B2BCDA}"/>
          </ac:spMkLst>
        </pc:spChg>
        <pc:spChg chg="add mod">
          <ac:chgData name="Umholtz, Jake" userId="68c67aa9-53c4-4aab-a03d-c07f0aadf984" providerId="ADAL" clId="{A9556D7F-CC22-4AB2-A243-FC3401A6D166}" dt="2022-08-18T18:50:02.007" v="7160" actId="207"/>
          <ac:spMkLst>
            <pc:docMk/>
            <pc:sldMk cId="603201446" sldId="684"/>
            <ac:spMk id="12" creationId="{81E43275-85DA-4022-8CD8-5A9BBC3EF71B}"/>
          </ac:spMkLst>
        </pc:spChg>
        <pc:grpChg chg="add del mod">
          <ac:chgData name="Umholtz, Jake" userId="68c67aa9-53c4-4aab-a03d-c07f0aadf984" providerId="ADAL" clId="{A9556D7F-CC22-4AB2-A243-FC3401A6D166}" dt="2022-08-19T13:22:37.054" v="10281"/>
          <ac:grpSpMkLst>
            <pc:docMk/>
            <pc:sldMk cId="603201446" sldId="684"/>
            <ac:grpSpMk id="5" creationId="{59E15A6E-5E7E-49B4-BFCA-FBA46FF6F44C}"/>
          </ac:grpSpMkLst>
        </pc:grpChg>
        <pc:picChg chg="add mod">
          <ac:chgData name="Umholtz, Jake" userId="68c67aa9-53c4-4aab-a03d-c07f0aadf984" providerId="ADAL" clId="{A9556D7F-CC22-4AB2-A243-FC3401A6D166}" dt="2022-08-18T18:50:48.952" v="7166" actId="1076"/>
          <ac:picMkLst>
            <pc:docMk/>
            <pc:sldMk cId="603201446" sldId="684"/>
            <ac:picMk id="4" creationId="{BA460DA3-751C-4BA3-978E-E0B17372026F}"/>
          </ac:picMkLst>
        </pc:picChg>
        <pc:picChg chg="add del mod">
          <ac:chgData name="Umholtz, Jake" userId="68c67aa9-53c4-4aab-a03d-c07f0aadf984" providerId="ADAL" clId="{A9556D7F-CC22-4AB2-A243-FC3401A6D166}" dt="2022-08-18T18:48:40.498" v="7120" actId="478"/>
          <ac:picMkLst>
            <pc:docMk/>
            <pc:sldMk cId="603201446" sldId="684"/>
            <ac:picMk id="7" creationId="{90F8EA44-B3F0-4C01-9884-6633416A76F0}"/>
          </ac:picMkLst>
        </pc:picChg>
        <pc:picChg chg="add del mod">
          <ac:chgData name="Umholtz, Jake" userId="68c67aa9-53c4-4aab-a03d-c07f0aadf984" providerId="ADAL" clId="{A9556D7F-CC22-4AB2-A243-FC3401A6D166}" dt="2022-08-18T18:46:52.924" v="6936" actId="478"/>
          <ac:picMkLst>
            <pc:docMk/>
            <pc:sldMk cId="603201446" sldId="684"/>
            <ac:picMk id="9" creationId="{F8929CBB-DF68-4984-AB55-0B3DA78ED5C7}"/>
          </ac:picMkLst>
        </pc:picChg>
      </pc:sldChg>
      <pc:sldChg chg="modSp add del mod">
        <pc:chgData name="Umholtz, Jake" userId="68c67aa9-53c4-4aab-a03d-c07f0aadf984" providerId="ADAL" clId="{A9556D7F-CC22-4AB2-A243-FC3401A6D166}" dt="2022-08-18T22:44:01.087" v="9329" actId="47"/>
        <pc:sldMkLst>
          <pc:docMk/>
          <pc:sldMk cId="721855361" sldId="685"/>
        </pc:sldMkLst>
        <pc:spChg chg="mod">
          <ac:chgData name="Umholtz, Jake" userId="68c67aa9-53c4-4aab-a03d-c07f0aadf984" providerId="ADAL" clId="{A9556D7F-CC22-4AB2-A243-FC3401A6D166}" dt="2022-08-18T22:21:52.479" v="9115" actId="20577"/>
          <ac:spMkLst>
            <pc:docMk/>
            <pc:sldMk cId="721855361" sldId="685"/>
            <ac:spMk id="3" creationId="{00000000-0000-0000-0000-000000000000}"/>
          </ac:spMkLst>
        </pc:spChg>
      </pc:sldChg>
      <pc:sldChg chg="del">
        <pc:chgData name="Umholtz, Jake" userId="68c67aa9-53c4-4aab-a03d-c07f0aadf984" providerId="ADAL" clId="{A9556D7F-CC22-4AB2-A243-FC3401A6D166}" dt="2022-08-18T19:24:27.104" v="7881" actId="47"/>
        <pc:sldMkLst>
          <pc:docMk/>
          <pc:sldMk cId="1642837546" sldId="685"/>
        </pc:sldMkLst>
      </pc:sldChg>
      <pc:sldChg chg="addSp delSp modSp add mod">
        <pc:chgData name="Umholtz, Jake" userId="68c67aa9-53c4-4aab-a03d-c07f0aadf984" providerId="ADAL" clId="{A9556D7F-CC22-4AB2-A243-FC3401A6D166}" dt="2022-08-18T23:05:23.615" v="9568" actId="1036"/>
        <pc:sldMkLst>
          <pc:docMk/>
          <pc:sldMk cId="998687245" sldId="712"/>
        </pc:sldMkLst>
        <pc:spChg chg="mod">
          <ac:chgData name="Umholtz, Jake" userId="68c67aa9-53c4-4aab-a03d-c07f0aadf984" providerId="ADAL" clId="{A9556D7F-CC22-4AB2-A243-FC3401A6D166}" dt="2022-08-18T22:54:21.858" v="9383" actId="20577"/>
          <ac:spMkLst>
            <pc:docMk/>
            <pc:sldMk cId="998687245" sldId="712"/>
            <ac:spMk id="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3:55.942" v="9347"/>
          <ac:spMkLst>
            <pc:docMk/>
            <pc:sldMk cId="998687245" sldId="712"/>
            <ac:spMk id="27" creationId="{0E296BCD-BE94-4D63-B0D4-7CA9E4CBF6B0}"/>
          </ac:spMkLst>
        </pc:spChg>
        <pc:spChg chg="mod">
          <ac:chgData name="Umholtz, Jake" userId="68c67aa9-53c4-4aab-a03d-c07f0aadf984" providerId="ADAL" clId="{A9556D7F-CC22-4AB2-A243-FC3401A6D166}" dt="2022-08-18T22:53:55.942" v="9347"/>
          <ac:spMkLst>
            <pc:docMk/>
            <pc:sldMk cId="998687245" sldId="712"/>
            <ac:spMk id="28" creationId="{0B2F1C8B-5483-4667-9455-2A5A92794AF2}"/>
          </ac:spMkLst>
        </pc:spChg>
        <pc:spChg chg="mod">
          <ac:chgData name="Umholtz, Jake" userId="68c67aa9-53c4-4aab-a03d-c07f0aadf984" providerId="ADAL" clId="{A9556D7F-CC22-4AB2-A243-FC3401A6D166}" dt="2022-08-18T22:53:55.942" v="9347"/>
          <ac:spMkLst>
            <pc:docMk/>
            <pc:sldMk cId="998687245" sldId="712"/>
            <ac:spMk id="29" creationId="{DB389601-9637-42ED-86BF-6D9FD158D974}"/>
          </ac:spMkLst>
        </pc:spChg>
        <pc:spChg chg="mod">
          <ac:chgData name="Umholtz, Jake" userId="68c67aa9-53c4-4aab-a03d-c07f0aadf984" providerId="ADAL" clId="{A9556D7F-CC22-4AB2-A243-FC3401A6D166}" dt="2022-08-18T22:53:55.942" v="9347"/>
          <ac:spMkLst>
            <pc:docMk/>
            <pc:sldMk cId="998687245" sldId="712"/>
            <ac:spMk id="30" creationId="{7B8CB421-3FEF-45E1-A96F-C0878094FFFD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1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2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3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4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8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3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0" creationId="{44E58C8A-45FA-4B2E-85E8-E837904139DB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1" creationId="{055F71AA-3EE6-43AA-B8BA-AF4300C5CB56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2" creationId="{2F5BA30D-82C1-4A4D-BE0C-FF33840ABBB3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43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4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5" creationId="{04F43F56-2F65-47D1-9BAB-F8A4FAD1BACF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6" creationId="{14369ABD-9D97-4854-9FD2-732BEA4B0394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47" creationId="{6F3CA957-471E-499F-ACE3-7DA09D8DABDF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48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8T23:05:18.560" v="9550" actId="164"/>
          <ac:spMkLst>
            <pc:docMk/>
            <pc:sldMk cId="998687245" sldId="712"/>
            <ac:spMk id="4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07.503" v="9407"/>
          <ac:spMkLst>
            <pc:docMk/>
            <pc:sldMk cId="998687245" sldId="712"/>
            <ac:spMk id="50" creationId="{7E6714C6-1ED9-4E8B-92F7-F72B91B5781F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53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54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56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57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59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6.101" v="9409" actId="165"/>
          <ac:spMkLst>
            <pc:docMk/>
            <pc:sldMk cId="998687245" sldId="712"/>
            <ac:spMk id="60" creationId="{00000000-0000-0000-0000-000000000000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1" creationId="{6ACA328B-95E4-4804-AE46-4099D9C1E565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2" creationId="{ABA387CF-9A6F-431C-97C5-1A9326BB3231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3" creationId="{E65AEBD7-0481-458E-8083-5609F8694F1E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4" creationId="{ABF998C6-F21F-4E43-BA24-CBB4D7158DC6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5" creationId="{CE26ABB7-FBCB-4381-8CE6-7F06A1639A67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6" creationId="{E3B7C892-F9BF-4B4D-8204-5CE8EA0AEEE8}"/>
          </ac:spMkLst>
        </pc:spChg>
        <pc:spChg chg="mod">
          <ac:chgData name="Umholtz, Jake" userId="68c67aa9-53c4-4aab-a03d-c07f0aadf984" providerId="ADAL" clId="{A9556D7F-CC22-4AB2-A243-FC3401A6D166}" dt="2022-08-18T22:56:19.338" v="9410"/>
          <ac:spMkLst>
            <pc:docMk/>
            <pc:sldMk cId="998687245" sldId="712"/>
            <ac:spMk id="67" creationId="{DB35F711-5634-4D36-81ED-CF7C3C91563A}"/>
          </ac:spMkLst>
        </pc:spChg>
        <pc:spChg chg="mod">
          <ac:chgData name="Umholtz, Jake" userId="68c67aa9-53c4-4aab-a03d-c07f0aadf984" providerId="ADAL" clId="{A9556D7F-CC22-4AB2-A243-FC3401A6D166}" dt="2022-08-18T22:57:29" v="9421" actId="208"/>
          <ac:spMkLst>
            <pc:docMk/>
            <pc:sldMk cId="998687245" sldId="712"/>
            <ac:spMk id="69" creationId="{887FF4C4-4C01-46E9-A9A6-0E28A13C9AB0}"/>
          </ac:spMkLst>
        </pc:spChg>
        <pc:spChg chg="mod">
          <ac:chgData name="Umholtz, Jake" userId="68c67aa9-53c4-4aab-a03d-c07f0aadf984" providerId="ADAL" clId="{A9556D7F-CC22-4AB2-A243-FC3401A6D166}" dt="2022-08-18T22:57:29" v="9421" actId="208"/>
          <ac:spMkLst>
            <pc:docMk/>
            <pc:sldMk cId="998687245" sldId="712"/>
            <ac:spMk id="70" creationId="{A7F5C0C1-BAE3-464B-B667-8EB4C08694D5}"/>
          </ac:spMkLst>
        </pc:spChg>
        <pc:spChg chg="mod">
          <ac:chgData name="Umholtz, Jake" userId="68c67aa9-53c4-4aab-a03d-c07f0aadf984" providerId="ADAL" clId="{A9556D7F-CC22-4AB2-A243-FC3401A6D166}" dt="2022-08-18T22:57:29" v="9421" actId="208"/>
          <ac:spMkLst>
            <pc:docMk/>
            <pc:sldMk cId="998687245" sldId="712"/>
            <ac:spMk id="71" creationId="{A73890DA-87B4-495C-A5AD-2910C07E8A23}"/>
          </ac:spMkLst>
        </pc:spChg>
        <pc:spChg chg="mod">
          <ac:chgData name="Umholtz, Jake" userId="68c67aa9-53c4-4aab-a03d-c07f0aadf984" providerId="ADAL" clId="{A9556D7F-CC22-4AB2-A243-FC3401A6D166}" dt="2022-08-18T22:57:29" v="9421" actId="208"/>
          <ac:spMkLst>
            <pc:docMk/>
            <pc:sldMk cId="998687245" sldId="712"/>
            <ac:spMk id="72" creationId="{6C1344A8-586E-4A2B-8A18-83E408358C9F}"/>
          </ac:spMkLst>
        </pc:spChg>
        <pc:spChg chg="mod">
          <ac:chgData name="Umholtz, Jake" userId="68c67aa9-53c4-4aab-a03d-c07f0aadf984" providerId="ADAL" clId="{A9556D7F-CC22-4AB2-A243-FC3401A6D166}" dt="2022-08-18T22:57:29" v="9421" actId="208"/>
          <ac:spMkLst>
            <pc:docMk/>
            <pc:sldMk cId="998687245" sldId="712"/>
            <ac:spMk id="73" creationId="{9E5594B2-3F59-477C-B067-1A30CECAA70E}"/>
          </ac:spMkLst>
        </pc:spChg>
        <pc:spChg chg="mod">
          <ac:chgData name="Umholtz, Jake" userId="68c67aa9-53c4-4aab-a03d-c07f0aadf984" providerId="ADAL" clId="{A9556D7F-CC22-4AB2-A243-FC3401A6D166}" dt="2022-08-18T22:58:01.536" v="9428" actId="208"/>
          <ac:spMkLst>
            <pc:docMk/>
            <pc:sldMk cId="998687245" sldId="712"/>
            <ac:spMk id="75" creationId="{7E0D0215-9C4C-4DB7-8BE1-97DD7C08C66A}"/>
          </ac:spMkLst>
        </pc:spChg>
        <pc:spChg chg="mod">
          <ac:chgData name="Umholtz, Jake" userId="68c67aa9-53c4-4aab-a03d-c07f0aadf984" providerId="ADAL" clId="{A9556D7F-CC22-4AB2-A243-FC3401A6D166}" dt="2022-08-18T22:58:01.536" v="9428" actId="208"/>
          <ac:spMkLst>
            <pc:docMk/>
            <pc:sldMk cId="998687245" sldId="712"/>
            <ac:spMk id="76" creationId="{0F011B76-0EDB-41D6-842F-589B0A495555}"/>
          </ac:spMkLst>
        </pc:spChg>
        <pc:spChg chg="add mod">
          <ac:chgData name="Umholtz, Jake" userId="68c67aa9-53c4-4aab-a03d-c07f0aadf984" providerId="ADAL" clId="{A9556D7F-CC22-4AB2-A243-FC3401A6D166}" dt="2022-08-18T23:05:03.230" v="9549" actId="20577"/>
          <ac:spMkLst>
            <pc:docMk/>
            <pc:sldMk cId="998687245" sldId="712"/>
            <ac:spMk id="77" creationId="{70BD044F-2566-4B3B-B819-312E622AB53A}"/>
          </ac:spMkLst>
        </pc:spChg>
        <pc:spChg chg="mod">
          <ac:chgData name="Umholtz, Jake" userId="68c67aa9-53c4-4aab-a03d-c07f0aadf984" providerId="ADAL" clId="{A9556D7F-CC22-4AB2-A243-FC3401A6D166}" dt="2022-08-18T22:53:43.748" v="9345"/>
          <ac:spMkLst>
            <pc:docMk/>
            <pc:sldMk cId="998687245" sldId="712"/>
            <ac:spMk id="371719" creationId="{00000000-0000-0000-0000-000000000000}"/>
          </ac:spMkLst>
        </pc:spChg>
        <pc:grpChg chg="del">
          <ac:chgData name="Umholtz, Jake" userId="68c67aa9-53c4-4aab-a03d-c07f0aadf984" providerId="ADAL" clId="{A9556D7F-CC22-4AB2-A243-FC3401A6D166}" dt="2022-08-18T22:56:16.101" v="9409" actId="165"/>
          <ac:grpSpMkLst>
            <pc:docMk/>
            <pc:sldMk cId="998687245" sldId="712"/>
            <ac:grpSpMk id="2" creationId="{606F7A72-DDC9-4DD1-A409-1A01C743CD2A}"/>
          </ac:grpSpMkLst>
        </pc:grpChg>
        <pc:grpChg chg="add mod">
          <ac:chgData name="Umholtz, Jake" userId="68c67aa9-53c4-4aab-a03d-c07f0aadf984" providerId="ADAL" clId="{A9556D7F-CC22-4AB2-A243-FC3401A6D166}" dt="2022-08-18T23:05:23.615" v="9568" actId="1036"/>
          <ac:grpSpMkLst>
            <pc:docMk/>
            <pc:sldMk cId="998687245" sldId="712"/>
            <ac:grpSpMk id="3" creationId="{795438FA-7306-4CCF-985D-14D82EB8EB09}"/>
          </ac:grpSpMkLst>
        </pc:grpChg>
        <pc:grpChg chg="add mod">
          <ac:chgData name="Umholtz, Jake" userId="68c67aa9-53c4-4aab-a03d-c07f0aadf984" providerId="ADAL" clId="{A9556D7F-CC22-4AB2-A243-FC3401A6D166}" dt="2022-08-18T22:53:55.942" v="9347"/>
          <ac:grpSpMkLst>
            <pc:docMk/>
            <pc:sldMk cId="998687245" sldId="712"/>
            <ac:grpSpMk id="26" creationId="{F065D92B-71CD-455D-ADB4-9295583D4F5A}"/>
          </ac:grpSpMkLst>
        </pc:grpChg>
        <pc:grpChg chg="add del mod">
          <ac:chgData name="Umholtz, Jake" userId="68c67aa9-53c4-4aab-a03d-c07f0aadf984" providerId="ADAL" clId="{A9556D7F-CC22-4AB2-A243-FC3401A6D166}" dt="2022-08-18T22:56:10.986" v="9408"/>
          <ac:grpSpMkLst>
            <pc:docMk/>
            <pc:sldMk cId="998687245" sldId="712"/>
            <ac:grpSpMk id="37" creationId="{E45C0FA7-FB40-4471-AE24-C820BDDD7A2B}"/>
          </ac:grpSpMkLst>
        </pc:grpChg>
        <pc:grpChg chg="add mod">
          <ac:chgData name="Umholtz, Jake" userId="68c67aa9-53c4-4aab-a03d-c07f0aadf984" providerId="ADAL" clId="{A9556D7F-CC22-4AB2-A243-FC3401A6D166}" dt="2022-08-18T23:05:18.560" v="9550" actId="164"/>
          <ac:grpSpMkLst>
            <pc:docMk/>
            <pc:sldMk cId="998687245" sldId="712"/>
            <ac:grpSpMk id="51" creationId="{EF06CDF3-5EAA-443B-B6A3-FCE668539E02}"/>
          </ac:grpSpMkLst>
        </pc:grpChg>
        <pc:grpChg chg="del mod topLvl">
          <ac:chgData name="Umholtz, Jake" userId="68c67aa9-53c4-4aab-a03d-c07f0aadf984" providerId="ADAL" clId="{A9556D7F-CC22-4AB2-A243-FC3401A6D166}" dt="2022-08-18T22:57:31.491" v="9422" actId="478"/>
          <ac:grpSpMkLst>
            <pc:docMk/>
            <pc:sldMk cId="998687245" sldId="712"/>
            <ac:grpSpMk id="52" creationId="{00000000-0000-0000-0000-000000000000}"/>
          </ac:grpSpMkLst>
        </pc:grpChg>
        <pc:grpChg chg="del mod topLvl">
          <ac:chgData name="Umholtz, Jake" userId="68c67aa9-53c4-4aab-a03d-c07f0aadf984" providerId="ADAL" clId="{A9556D7F-CC22-4AB2-A243-FC3401A6D166}" dt="2022-08-18T22:58:04.342" v="9429" actId="478"/>
          <ac:grpSpMkLst>
            <pc:docMk/>
            <pc:sldMk cId="998687245" sldId="712"/>
            <ac:grpSpMk id="55" creationId="{00000000-0000-0000-0000-000000000000}"/>
          </ac:grpSpMkLst>
        </pc:grpChg>
        <pc:grpChg chg="del mod topLvl">
          <ac:chgData name="Umholtz, Jake" userId="68c67aa9-53c4-4aab-a03d-c07f0aadf984" providerId="ADAL" clId="{A9556D7F-CC22-4AB2-A243-FC3401A6D166}" dt="2022-08-18T22:56:32.540" v="9415" actId="478"/>
          <ac:grpSpMkLst>
            <pc:docMk/>
            <pc:sldMk cId="998687245" sldId="712"/>
            <ac:grpSpMk id="58" creationId="{00000000-0000-0000-0000-000000000000}"/>
          </ac:grpSpMkLst>
        </pc:grpChg>
        <pc:grpChg chg="add mod">
          <ac:chgData name="Umholtz, Jake" userId="68c67aa9-53c4-4aab-a03d-c07f0aadf984" providerId="ADAL" clId="{A9556D7F-CC22-4AB2-A243-FC3401A6D166}" dt="2022-08-18T23:05:18.560" v="9550" actId="164"/>
          <ac:grpSpMkLst>
            <pc:docMk/>
            <pc:sldMk cId="998687245" sldId="712"/>
            <ac:grpSpMk id="68" creationId="{C0316026-0D3D-48E5-98D7-297C20B51F54}"/>
          </ac:grpSpMkLst>
        </pc:grpChg>
        <pc:grpChg chg="add mod">
          <ac:chgData name="Umholtz, Jake" userId="68c67aa9-53c4-4aab-a03d-c07f0aadf984" providerId="ADAL" clId="{A9556D7F-CC22-4AB2-A243-FC3401A6D166}" dt="2022-08-18T23:05:18.560" v="9550" actId="164"/>
          <ac:grpSpMkLst>
            <pc:docMk/>
            <pc:sldMk cId="998687245" sldId="712"/>
            <ac:grpSpMk id="74" creationId="{81F41471-C923-4DB0-AC11-F7177A9FD32E}"/>
          </ac:grpSpMkLst>
        </pc:grpChg>
      </pc:sldChg>
      <pc:sldChg chg="addSp delSp modSp add del mod modNotes">
        <pc:chgData name="Umholtz, Jake" userId="68c67aa9-53c4-4aab-a03d-c07f0aadf984" providerId="ADAL" clId="{A9556D7F-CC22-4AB2-A243-FC3401A6D166}" dt="2022-08-19T20:33:56.429" v="11551" actId="47"/>
        <pc:sldMkLst>
          <pc:docMk/>
          <pc:sldMk cId="3354519413" sldId="720"/>
        </pc:sldMkLst>
        <pc:spChg chg="del mod topLvl">
          <ac:chgData name="Umholtz, Jake" userId="68c67aa9-53c4-4aab-a03d-c07f0aadf984" providerId="ADAL" clId="{A9556D7F-CC22-4AB2-A243-FC3401A6D166}" dt="2022-08-19T20:26:44.115" v="11275" actId="478"/>
          <ac:spMkLst>
            <pc:docMk/>
            <pc:sldMk cId="3354519413" sldId="720"/>
            <ac:spMk id="31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43.260" v="11274" actId="478"/>
          <ac:spMkLst>
            <pc:docMk/>
            <pc:sldMk cId="3354519413" sldId="720"/>
            <ac:spMk id="32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48.255" v="11279" actId="478"/>
          <ac:spMkLst>
            <pc:docMk/>
            <pc:sldMk cId="3354519413" sldId="720"/>
            <ac:spMk id="33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45.443" v="11277" actId="478"/>
          <ac:spMkLst>
            <pc:docMk/>
            <pc:sldMk cId="3354519413" sldId="720"/>
            <ac:spMk id="34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4:02.743" v="11067" actId="478"/>
          <ac:spMkLst>
            <pc:docMk/>
            <pc:sldMk cId="3354519413" sldId="720"/>
            <ac:spMk id="35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4:03.802" v="11068" actId="478"/>
          <ac:spMkLst>
            <pc:docMk/>
            <pc:sldMk cId="3354519413" sldId="720"/>
            <ac:spMk id="36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3:59.121" v="11065" actId="478"/>
          <ac:spMkLst>
            <pc:docMk/>
            <pc:sldMk cId="3354519413" sldId="720"/>
            <ac:spMk id="37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4:00.135" v="11066" actId="478"/>
          <ac:spMkLst>
            <pc:docMk/>
            <pc:sldMk cId="3354519413" sldId="720"/>
            <ac:spMk id="38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3:53.609" v="11061" actId="478"/>
          <ac:spMkLst>
            <pc:docMk/>
            <pc:sldMk cId="3354519413" sldId="720"/>
            <ac:spMk id="39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3:55.477" v="11062" actId="478"/>
          <ac:spMkLst>
            <pc:docMk/>
            <pc:sldMk cId="3354519413" sldId="720"/>
            <ac:spMk id="40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5:59.573" v="11183" actId="1076"/>
          <ac:spMkLst>
            <pc:docMk/>
            <pc:sldMk cId="3354519413" sldId="720"/>
            <ac:spMk id="41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42.584" v="11273" actId="478"/>
          <ac:spMkLst>
            <pc:docMk/>
            <pc:sldMk cId="3354519413" sldId="720"/>
            <ac:spMk id="42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47.536" v="11278" actId="478"/>
          <ac:spMkLst>
            <pc:docMk/>
            <pc:sldMk cId="3354519413" sldId="720"/>
            <ac:spMk id="43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6:50.123" v="11281" actId="478"/>
          <ac:spMkLst>
            <pc:docMk/>
            <pc:sldMk cId="3354519413" sldId="720"/>
            <ac:spMk id="44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4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4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47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48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49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0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1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2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3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6:44.837" v="11276" actId="6549"/>
          <ac:spMkLst>
            <pc:docMk/>
            <pc:sldMk cId="3354519413" sldId="720"/>
            <ac:spMk id="54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5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6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7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8" creationId="{00000000-0000-0000-0000-000000000000}"/>
          </ac:spMkLst>
        </pc:spChg>
        <pc:spChg chg="mod topLvl">
          <ac:chgData name="Umholtz, Jake" userId="68c67aa9-53c4-4aab-a03d-c07f0aadf984" providerId="ADAL" clId="{A9556D7F-CC22-4AB2-A243-FC3401A6D166}" dt="2022-08-19T20:23:43.065" v="11060" actId="165"/>
          <ac:spMkLst>
            <pc:docMk/>
            <pc:sldMk cId="3354519413" sldId="720"/>
            <ac:spMk id="59" creationId="{00000000-0000-0000-0000-000000000000}"/>
          </ac:spMkLst>
        </pc:spChg>
        <pc:spChg chg="del mod topLvl">
          <ac:chgData name="Umholtz, Jake" userId="68c67aa9-53c4-4aab-a03d-c07f0aadf984" providerId="ADAL" clId="{A9556D7F-CC22-4AB2-A243-FC3401A6D166}" dt="2022-08-19T20:23:57.523" v="11064" actId="478"/>
          <ac:spMkLst>
            <pc:docMk/>
            <pc:sldMk cId="3354519413" sldId="720"/>
            <ac:spMk id="60" creationId="{00000000-0000-0000-0000-000000000000}"/>
          </ac:spMkLst>
        </pc:spChg>
        <pc:spChg chg="add mod">
          <ac:chgData name="Umholtz, Jake" userId="68c67aa9-53c4-4aab-a03d-c07f0aadf984" providerId="ADAL" clId="{A9556D7F-CC22-4AB2-A243-FC3401A6D166}" dt="2022-08-19T20:24:09.022" v="11070" actId="571"/>
          <ac:spMkLst>
            <pc:docMk/>
            <pc:sldMk cId="3354519413" sldId="720"/>
            <ac:spMk id="61" creationId="{ED4EED3E-1511-4FBD-8FF5-1CDAD2364CAD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2" creationId="{90515DC0-F86F-4738-9C04-D06BB8DDA4A7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3" creationId="{D3308445-C761-428B-B901-8A4BDF2AD597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4" creationId="{3D1B9EFA-C966-4977-AE67-6C4B121A0A4B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5" creationId="{FA642561-DC41-42BF-B6BD-958462414E2B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6" creationId="{D3E274E5-3124-458F-8A7F-ACFF996CB0C0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7" creationId="{B9EC85A9-FF98-477C-A66E-22E76457E997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8" creationId="{CBF8F6E9-154E-417D-BCFB-8F3AFA7A7CF4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69" creationId="{AA9AADF1-13F6-4E2C-94FE-A4CD97291FAE}"/>
          </ac:spMkLst>
        </pc:spChg>
        <pc:spChg chg="add mod">
          <ac:chgData name="Umholtz, Jake" userId="68c67aa9-53c4-4aab-a03d-c07f0aadf984" providerId="ADAL" clId="{A9556D7F-CC22-4AB2-A243-FC3401A6D166}" dt="2022-08-19T20:25:41.142" v="11180" actId="164"/>
          <ac:spMkLst>
            <pc:docMk/>
            <pc:sldMk cId="3354519413" sldId="720"/>
            <ac:spMk id="70" creationId="{70532D83-968E-4AF4-BD90-36CE849C96C8}"/>
          </ac:spMkLst>
        </pc:spChg>
        <pc:spChg chg="add mod">
          <ac:chgData name="Umholtz, Jake" userId="68c67aa9-53c4-4aab-a03d-c07f0aadf984" providerId="ADAL" clId="{A9556D7F-CC22-4AB2-A243-FC3401A6D166}" dt="2022-08-19T20:25:19.065" v="11176" actId="1036"/>
          <ac:spMkLst>
            <pc:docMk/>
            <pc:sldMk cId="3354519413" sldId="720"/>
            <ac:spMk id="71" creationId="{D01FDCBF-D9BE-4B10-86D9-99C032E1AA28}"/>
          </ac:spMkLst>
        </pc:spChg>
        <pc:spChg chg="add del mod">
          <ac:chgData name="Umholtz, Jake" userId="68c67aa9-53c4-4aab-a03d-c07f0aadf984" providerId="ADAL" clId="{A9556D7F-CC22-4AB2-A243-FC3401A6D166}" dt="2022-08-19T20:25:23.790" v="11179" actId="478"/>
          <ac:spMkLst>
            <pc:docMk/>
            <pc:sldMk cId="3354519413" sldId="720"/>
            <ac:spMk id="72" creationId="{4E67E366-B7D1-47A2-A5C7-DE04EC205079}"/>
          </ac:spMkLst>
        </pc:spChg>
        <pc:spChg chg="mod">
          <ac:chgData name="Umholtz, Jake" userId="68c67aa9-53c4-4aab-a03d-c07f0aadf984" providerId="ADAL" clId="{A9556D7F-CC22-4AB2-A243-FC3401A6D166}" dt="2022-08-19T20:27:07.286" v="11301" actId="14100"/>
          <ac:spMkLst>
            <pc:docMk/>
            <pc:sldMk cId="3354519413" sldId="720"/>
            <ac:spMk id="75" creationId="{259D5D31-FB36-4207-87E0-E6266C413E87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76" creationId="{07543106-9B09-4F61-A43E-7E1D6D3750E5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77" creationId="{4269D31B-C2B9-4451-A98D-03E1B10D3D08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78" creationId="{A750B300-1908-4EA4-89AF-4680AC2A636A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79" creationId="{43FF09A9-C199-47CB-954B-628B12BCEEB8}"/>
          </ac:spMkLst>
        </pc:spChg>
        <pc:spChg chg="mod">
          <ac:chgData name="Umholtz, Jake" userId="68c67aa9-53c4-4aab-a03d-c07f0aadf984" providerId="ADAL" clId="{A9556D7F-CC22-4AB2-A243-FC3401A6D166}" dt="2022-08-19T20:27:18.865" v="11318" actId="14100"/>
          <ac:spMkLst>
            <pc:docMk/>
            <pc:sldMk cId="3354519413" sldId="720"/>
            <ac:spMk id="80" creationId="{9D56CE01-63A1-4CE6-AFF3-7B72F36CF041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81" creationId="{63F19FB8-1529-427D-AA1B-6AF31111CC59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82" creationId="{16C35FC0-1511-463C-9BF1-B7D54C4FAACA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83" creationId="{ABD77CC9-9B5F-4CA3-9998-6C18AA9D1934}"/>
          </ac:spMkLst>
        </pc:spChg>
        <pc:spChg chg="mod">
          <ac:chgData name="Umholtz, Jake" userId="68c67aa9-53c4-4aab-a03d-c07f0aadf984" providerId="ADAL" clId="{A9556D7F-CC22-4AB2-A243-FC3401A6D166}" dt="2022-08-19T20:26:40.047" v="11271"/>
          <ac:spMkLst>
            <pc:docMk/>
            <pc:sldMk cId="3354519413" sldId="720"/>
            <ac:spMk id="84" creationId="{EFA169AB-9BD0-484B-BC4E-1C060F3FE229}"/>
          </ac:spMkLst>
        </pc:spChg>
        <pc:grpChg chg="add mod">
          <ac:chgData name="Umholtz, Jake" userId="68c67aa9-53c4-4aab-a03d-c07f0aadf984" providerId="ADAL" clId="{A9556D7F-CC22-4AB2-A243-FC3401A6D166}" dt="2022-08-19T20:24:35.177" v="11074" actId="164"/>
          <ac:grpSpMkLst>
            <pc:docMk/>
            <pc:sldMk cId="3354519413" sldId="720"/>
            <ac:grpSpMk id="2" creationId="{7CB1B519-7CC5-4F12-982C-B3AF0C77A6A1}"/>
          </ac:grpSpMkLst>
        </pc:grpChg>
        <pc:grpChg chg="add del mod">
          <ac:chgData name="Umholtz, Jake" userId="68c67aa9-53c4-4aab-a03d-c07f0aadf984" providerId="ADAL" clId="{A9556D7F-CC22-4AB2-A243-FC3401A6D166}" dt="2022-08-19T20:26:41.552" v="11272" actId="478"/>
          <ac:grpSpMkLst>
            <pc:docMk/>
            <pc:sldMk cId="3354519413" sldId="720"/>
            <ac:grpSpMk id="3" creationId="{2FAE09DF-C88F-4174-85DC-A464D6254939}"/>
          </ac:grpSpMkLst>
        </pc:grpChg>
        <pc:grpChg chg="del">
          <ac:chgData name="Umholtz, Jake" userId="68c67aa9-53c4-4aab-a03d-c07f0aadf984" providerId="ADAL" clId="{A9556D7F-CC22-4AB2-A243-FC3401A6D166}" dt="2022-08-19T20:23:43.065" v="11060" actId="165"/>
          <ac:grpSpMkLst>
            <pc:docMk/>
            <pc:sldMk cId="3354519413" sldId="720"/>
            <ac:grpSpMk id="4" creationId="{00000000-0000-0000-0000-000000000000}"/>
          </ac:grpSpMkLst>
        </pc:grpChg>
        <pc:grpChg chg="add mod">
          <ac:chgData name="Umholtz, Jake" userId="68c67aa9-53c4-4aab-a03d-c07f0aadf984" providerId="ADAL" clId="{A9556D7F-CC22-4AB2-A243-FC3401A6D166}" dt="2022-08-19T20:26:56.470" v="11284" actId="1076"/>
          <ac:grpSpMkLst>
            <pc:docMk/>
            <pc:sldMk cId="3354519413" sldId="720"/>
            <ac:grpSpMk id="73" creationId="{74DE7913-2311-4A3E-AA88-727BE482248E}"/>
          </ac:grpSpMkLst>
        </pc:grpChg>
        <pc:grpChg chg="mod">
          <ac:chgData name="Umholtz, Jake" userId="68c67aa9-53c4-4aab-a03d-c07f0aadf984" providerId="ADAL" clId="{A9556D7F-CC22-4AB2-A243-FC3401A6D166}" dt="2022-08-19T20:26:40.047" v="11271"/>
          <ac:grpSpMkLst>
            <pc:docMk/>
            <pc:sldMk cId="3354519413" sldId="720"/>
            <ac:grpSpMk id="74" creationId="{966FBA49-67F6-4E57-9732-500BD194B5B5}"/>
          </ac:grpSpMkLst>
        </pc:grpChg>
      </pc:sldChg>
      <pc:sldChg chg="add del">
        <pc:chgData name="Umholtz, Jake" userId="68c67aa9-53c4-4aab-a03d-c07f0aadf984" providerId="ADAL" clId="{A9556D7F-CC22-4AB2-A243-FC3401A6D166}" dt="2022-08-19T20:21:31.264" v="11058" actId="47"/>
        <pc:sldMkLst>
          <pc:docMk/>
          <pc:sldMk cId="3854968189" sldId="731"/>
        </pc:sldMkLst>
      </pc:sldChg>
      <pc:sldChg chg="addSp delSp modSp add mod modNotes modNotesTx">
        <pc:chgData name="Umholtz, Jake" userId="68c67aa9-53c4-4aab-a03d-c07f0aadf984" providerId="ADAL" clId="{A9556D7F-CC22-4AB2-A243-FC3401A6D166}" dt="2022-08-19T16:27:11.059" v="11043" actId="1076"/>
        <pc:sldMkLst>
          <pc:docMk/>
          <pc:sldMk cId="2062970365" sldId="765"/>
        </pc:sldMkLst>
        <pc:spChg chg="del">
          <ac:chgData name="Umholtz, Jake" userId="68c67aa9-53c4-4aab-a03d-c07f0aadf984" providerId="ADAL" clId="{A9556D7F-CC22-4AB2-A243-FC3401A6D166}" dt="2022-08-19T15:17:53.917" v="10477" actId="478"/>
          <ac:spMkLst>
            <pc:docMk/>
            <pc:sldMk cId="2062970365" sldId="765"/>
            <ac:spMk id="2" creationId="{D66BAC33-0E17-A443-A36A-FE8E97916217}"/>
          </ac:spMkLst>
        </pc:spChg>
        <pc:spChg chg="del mod">
          <ac:chgData name="Umholtz, Jake" userId="68c67aa9-53c4-4aab-a03d-c07f0aadf984" providerId="ADAL" clId="{A9556D7F-CC22-4AB2-A243-FC3401A6D166}" dt="2022-08-19T15:17:51.094" v="10475" actId="478"/>
          <ac:spMkLst>
            <pc:docMk/>
            <pc:sldMk cId="2062970365" sldId="765"/>
            <ac:spMk id="3" creationId="{9510A51B-281E-4DD0-BCB8-0BB86F46BBAF}"/>
          </ac:spMkLst>
        </pc:spChg>
        <pc:spChg chg="add del mod">
          <ac:chgData name="Umholtz, Jake" userId="68c67aa9-53c4-4aab-a03d-c07f0aadf984" providerId="ADAL" clId="{A9556D7F-CC22-4AB2-A243-FC3401A6D166}" dt="2022-08-19T15:17:52.581" v="10476" actId="478"/>
          <ac:spMkLst>
            <pc:docMk/>
            <pc:sldMk cId="2062970365" sldId="765"/>
            <ac:spMk id="5" creationId="{E2CCB478-7127-44E0-808E-BAA8E094A573}"/>
          </ac:spMkLst>
        </pc:spChg>
        <pc:spChg chg="add del mod">
          <ac:chgData name="Umholtz, Jake" userId="68c67aa9-53c4-4aab-a03d-c07f0aadf984" providerId="ADAL" clId="{A9556D7F-CC22-4AB2-A243-FC3401A6D166}" dt="2022-08-19T15:17:54.949" v="10478" actId="478"/>
          <ac:spMkLst>
            <pc:docMk/>
            <pc:sldMk cId="2062970365" sldId="765"/>
            <ac:spMk id="7" creationId="{C504FAAC-14B4-41D7-A67E-9D00B009FA62}"/>
          </ac:spMkLst>
        </pc:spChg>
        <pc:spChg chg="del">
          <ac:chgData name="Umholtz, Jake" userId="68c67aa9-53c4-4aab-a03d-c07f0aadf984" providerId="ADAL" clId="{A9556D7F-CC22-4AB2-A243-FC3401A6D166}" dt="2022-08-19T15:17:40.165" v="10473" actId="478"/>
          <ac:spMkLst>
            <pc:docMk/>
            <pc:sldMk cId="2062970365" sldId="765"/>
            <ac:spMk id="53" creationId="{88478F42-E7D0-4E6D-A6F2-D9E63A939214}"/>
          </ac:spMkLst>
        </pc:spChg>
        <pc:spChg chg="add mod">
          <ac:chgData name="Umholtz, Jake" userId="68c67aa9-53c4-4aab-a03d-c07f0aadf984" providerId="ADAL" clId="{A9556D7F-CC22-4AB2-A243-FC3401A6D166}" dt="2022-08-19T15:27:02.396" v="10922" actId="20577"/>
          <ac:spMkLst>
            <pc:docMk/>
            <pc:sldMk cId="2062970365" sldId="765"/>
            <ac:spMk id="57" creationId="{7D0D2AA2-B901-4EDC-AEE4-B17C5951AE2A}"/>
          </ac:spMkLst>
        </pc:spChg>
        <pc:spChg chg="add mod">
          <ac:chgData name="Umholtz, Jake" userId="68c67aa9-53c4-4aab-a03d-c07f0aadf984" providerId="ADAL" clId="{A9556D7F-CC22-4AB2-A243-FC3401A6D166}" dt="2022-08-19T15:17:56.136" v="10479"/>
          <ac:spMkLst>
            <pc:docMk/>
            <pc:sldMk cId="2062970365" sldId="765"/>
            <ac:spMk id="58" creationId="{5BA15D00-C27B-48EA-B8E9-E09F2787227B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1" creationId="{2FA7FB99-76CC-4B00-A0CB-D6A5AF6BF5F8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2" creationId="{11AEA316-A5D6-4DBE-80B7-858B7D7C7E40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3" creationId="{2249E871-029A-4A1B-A558-9CC2F2F002EF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4" creationId="{0214C98C-05EA-40D9-9494-4A850A209E4C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5" creationId="{7D7D3ADE-C954-49DE-AAC8-2DACE53F99F5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6" creationId="{DEB678CC-0177-473D-BB67-F1FDDF648A7A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7" creationId="{0F2F70C5-83C2-46E6-AE89-608E8C2EE325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8" creationId="{28F7C312-BF4B-4C12-854F-7E97B1CC931E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69" creationId="{9B188775-C468-4598-857B-BF7A08F318B0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70" creationId="{FA690A2A-312A-409D-83AE-AD6D50C57238}"/>
          </ac:spMkLst>
        </pc:spChg>
        <pc:spChg chg="mod">
          <ac:chgData name="Umholtz, Jake" userId="68c67aa9-53c4-4aab-a03d-c07f0aadf984" providerId="ADAL" clId="{A9556D7F-CC22-4AB2-A243-FC3401A6D166}" dt="2022-08-19T16:20:30.469" v="10952"/>
          <ac:spMkLst>
            <pc:docMk/>
            <pc:sldMk cId="2062970365" sldId="765"/>
            <ac:spMk id="71" creationId="{DD866BEF-179E-4E67-AF04-27E487D84F37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3" creationId="{C0FDD209-3A8B-47A0-BB5C-942BADC01044}"/>
          </ac:spMkLst>
        </pc:spChg>
        <pc:spChg chg="add del mod">
          <ac:chgData name="Umholtz, Jake" userId="68c67aa9-53c4-4aab-a03d-c07f0aadf984" providerId="ADAL" clId="{A9556D7F-CC22-4AB2-A243-FC3401A6D166}" dt="2022-08-19T16:25:06.900" v="11018" actId="478"/>
          <ac:spMkLst>
            <pc:docMk/>
            <pc:sldMk cId="2062970365" sldId="765"/>
            <ac:spMk id="74" creationId="{777E9697-E79D-4B8A-9F7E-A57D13882853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5" creationId="{6C8018D4-54CD-4460-9FC3-09AEDB329E3D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6" creationId="{3BB12091-8872-4178-BE4B-3753D100F065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7" creationId="{8BFE95BF-EEB4-4C96-9D8A-FB3E07FA0223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8" creationId="{15E787BC-81A4-4EC7-994C-E8C6BCB96FC8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79" creationId="{A9E23AF8-E993-456C-A8C2-3F1FE9D1D789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80" creationId="{50153840-6477-439D-9107-2B7DD07BFBA9}"/>
          </ac:spMkLst>
        </pc:spChg>
        <pc:spChg chg="add del mod">
          <ac:chgData name="Umholtz, Jake" userId="68c67aa9-53c4-4aab-a03d-c07f0aadf984" providerId="ADAL" clId="{A9556D7F-CC22-4AB2-A243-FC3401A6D166}" dt="2022-08-19T16:25:06.283" v="11016" actId="478"/>
          <ac:spMkLst>
            <pc:docMk/>
            <pc:sldMk cId="2062970365" sldId="765"/>
            <ac:spMk id="81" creationId="{1F01E23A-E5C2-4507-BE2A-40F259996582}"/>
          </ac:spMkLst>
        </pc:spChg>
        <pc:spChg chg="add del mod">
          <ac:chgData name="Umholtz, Jake" userId="68c67aa9-53c4-4aab-a03d-c07f0aadf984" providerId="ADAL" clId="{A9556D7F-CC22-4AB2-A243-FC3401A6D166}" dt="2022-08-19T16:25:06.615" v="11017" actId="478"/>
          <ac:spMkLst>
            <pc:docMk/>
            <pc:sldMk cId="2062970365" sldId="765"/>
            <ac:spMk id="82" creationId="{83AA791D-CAB8-4E47-AED3-8C9E4932B074}"/>
          </ac:spMkLst>
        </pc:spChg>
        <pc:spChg chg="mod">
          <ac:chgData name="Umholtz, Jake" userId="68c67aa9-53c4-4aab-a03d-c07f0aadf984" providerId="ADAL" clId="{A9556D7F-CC22-4AB2-A243-FC3401A6D166}" dt="2022-08-19T16:20:48.201" v="10960"/>
          <ac:spMkLst>
            <pc:docMk/>
            <pc:sldMk cId="2062970365" sldId="765"/>
            <ac:spMk id="83" creationId="{01579595-898F-4062-9400-D9D69DE652F0}"/>
          </ac:spMkLst>
        </pc:spChg>
        <pc:spChg chg="mod">
          <ac:chgData name="Umholtz, Jake" userId="68c67aa9-53c4-4aab-a03d-c07f0aadf984" providerId="ADAL" clId="{A9556D7F-CC22-4AB2-A243-FC3401A6D166}" dt="2022-08-19T16:22:52.431" v="10976"/>
          <ac:spMkLst>
            <pc:docMk/>
            <pc:sldMk cId="2062970365" sldId="765"/>
            <ac:spMk id="85" creationId="{63BF2CA2-44E6-41F9-9F9C-99671146E9C4}"/>
          </ac:spMkLst>
        </pc:spChg>
        <pc:spChg chg="del mod">
          <ac:chgData name="Umholtz, Jake" userId="68c67aa9-53c4-4aab-a03d-c07f0aadf984" providerId="ADAL" clId="{A9556D7F-CC22-4AB2-A243-FC3401A6D166}" dt="2022-08-19T16:25:15.335" v="11023" actId="478"/>
          <ac:spMkLst>
            <pc:docMk/>
            <pc:sldMk cId="2062970365" sldId="765"/>
            <ac:spMk id="86" creationId="{7E69D96F-8D6B-4565-9783-FD5FF26CBFDA}"/>
          </ac:spMkLst>
        </pc:spChg>
        <pc:spChg chg="mod">
          <ac:chgData name="Umholtz, Jake" userId="68c67aa9-53c4-4aab-a03d-c07f0aadf984" providerId="ADAL" clId="{A9556D7F-CC22-4AB2-A243-FC3401A6D166}" dt="2022-08-19T16:22:52.431" v="10976"/>
          <ac:spMkLst>
            <pc:docMk/>
            <pc:sldMk cId="2062970365" sldId="765"/>
            <ac:spMk id="87" creationId="{A135990F-A13D-4E6C-8400-808203DACF70}"/>
          </ac:spMkLst>
        </pc:spChg>
        <pc:spChg chg="mod">
          <ac:chgData name="Umholtz, Jake" userId="68c67aa9-53c4-4aab-a03d-c07f0aadf984" providerId="ADAL" clId="{A9556D7F-CC22-4AB2-A243-FC3401A6D166}" dt="2022-08-19T16:24:02.522" v="10991"/>
          <ac:spMkLst>
            <pc:docMk/>
            <pc:sldMk cId="2062970365" sldId="765"/>
            <ac:spMk id="89" creationId="{E39DDF4C-DCC3-41DE-8C36-9F8308991547}"/>
          </ac:spMkLst>
        </pc:spChg>
        <pc:spChg chg="mod">
          <ac:chgData name="Umholtz, Jake" userId="68c67aa9-53c4-4aab-a03d-c07f0aadf984" providerId="ADAL" clId="{A9556D7F-CC22-4AB2-A243-FC3401A6D166}" dt="2022-08-19T16:24:02.522" v="10991"/>
          <ac:spMkLst>
            <pc:docMk/>
            <pc:sldMk cId="2062970365" sldId="765"/>
            <ac:spMk id="90" creationId="{9885EF13-C7D1-48B1-B9A7-5447D1919902}"/>
          </ac:spMkLst>
        </pc:spChg>
        <pc:spChg chg="mod">
          <ac:chgData name="Umholtz, Jake" userId="68c67aa9-53c4-4aab-a03d-c07f0aadf984" providerId="ADAL" clId="{A9556D7F-CC22-4AB2-A243-FC3401A6D166}" dt="2022-08-19T16:24:02.522" v="10991"/>
          <ac:spMkLst>
            <pc:docMk/>
            <pc:sldMk cId="2062970365" sldId="765"/>
            <ac:spMk id="91" creationId="{F7081AC7-29C0-4CBB-A98C-1394DEAF9146}"/>
          </ac:spMkLst>
        </pc:spChg>
        <pc:spChg chg="mod">
          <ac:chgData name="Umholtz, Jake" userId="68c67aa9-53c4-4aab-a03d-c07f0aadf984" providerId="ADAL" clId="{A9556D7F-CC22-4AB2-A243-FC3401A6D166}" dt="2022-08-19T16:24:02.522" v="10991"/>
          <ac:spMkLst>
            <pc:docMk/>
            <pc:sldMk cId="2062970365" sldId="765"/>
            <ac:spMk id="92" creationId="{CC8EAAC6-89F2-4179-ABEE-1A07DC89696E}"/>
          </ac:spMkLst>
        </pc:spChg>
        <pc:spChg chg="mod">
          <ac:chgData name="Umholtz, Jake" userId="68c67aa9-53c4-4aab-a03d-c07f0aadf984" providerId="ADAL" clId="{A9556D7F-CC22-4AB2-A243-FC3401A6D166}" dt="2022-08-19T16:25:40.534" v="11029" actId="208"/>
          <ac:spMkLst>
            <pc:docMk/>
            <pc:sldMk cId="2062970365" sldId="765"/>
            <ac:spMk id="94" creationId="{9A97AE07-F8DA-4C34-AA2D-CC08227EBCD6}"/>
          </ac:spMkLst>
        </pc:spChg>
        <pc:spChg chg="mod">
          <ac:chgData name="Umholtz, Jake" userId="68c67aa9-53c4-4aab-a03d-c07f0aadf984" providerId="ADAL" clId="{A9556D7F-CC22-4AB2-A243-FC3401A6D166}" dt="2022-08-19T16:25:40.534" v="11029" actId="208"/>
          <ac:spMkLst>
            <pc:docMk/>
            <pc:sldMk cId="2062970365" sldId="765"/>
            <ac:spMk id="95" creationId="{A93874A0-FB71-4B23-B0DB-E1BAF1B2F75F}"/>
          </ac:spMkLst>
        </pc:spChg>
        <pc:spChg chg="mod">
          <ac:chgData name="Umholtz, Jake" userId="68c67aa9-53c4-4aab-a03d-c07f0aadf984" providerId="ADAL" clId="{A9556D7F-CC22-4AB2-A243-FC3401A6D166}" dt="2022-08-19T16:26:15.680" v="11036" actId="207"/>
          <ac:spMkLst>
            <pc:docMk/>
            <pc:sldMk cId="2062970365" sldId="765"/>
            <ac:spMk id="97" creationId="{814B26BD-4FDF-4D77-B6DB-A74BA0B375A6}"/>
          </ac:spMkLst>
        </pc:spChg>
        <pc:spChg chg="mod">
          <ac:chgData name="Umholtz, Jake" userId="68c67aa9-53c4-4aab-a03d-c07f0aadf984" providerId="ADAL" clId="{A9556D7F-CC22-4AB2-A243-FC3401A6D166}" dt="2022-08-19T16:26:15.680" v="11036" actId="207"/>
          <ac:spMkLst>
            <pc:docMk/>
            <pc:sldMk cId="2062970365" sldId="765"/>
            <ac:spMk id="98" creationId="{EA67A1CE-58BC-4867-9607-6294D7A18D34}"/>
          </ac:spMkLst>
        </pc:spChg>
        <pc:spChg chg="mod">
          <ac:chgData name="Umholtz, Jake" userId="68c67aa9-53c4-4aab-a03d-c07f0aadf984" providerId="ADAL" clId="{A9556D7F-CC22-4AB2-A243-FC3401A6D166}" dt="2022-08-19T16:26:15.680" v="11036" actId="207"/>
          <ac:spMkLst>
            <pc:docMk/>
            <pc:sldMk cId="2062970365" sldId="765"/>
            <ac:spMk id="99" creationId="{A0B74132-5C4B-4BB9-A3CD-5044BDCD008D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00" creationId="{D818A44A-E511-45D4-B2D6-5461597CA302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01" creationId="{7AA53DAB-12EB-4497-A3D2-F221665D8D86}"/>
          </ac:spMkLst>
        </pc:spChg>
        <pc:spChg chg="mod">
          <ac:chgData name="Umholtz, Jake" userId="68c67aa9-53c4-4aab-a03d-c07f0aadf984" providerId="ADAL" clId="{A9556D7F-CC22-4AB2-A243-FC3401A6D166}" dt="2022-08-19T16:26:15.680" v="11036" actId="207"/>
          <ac:spMkLst>
            <pc:docMk/>
            <pc:sldMk cId="2062970365" sldId="765"/>
            <ac:spMk id="102" creationId="{7E17BA65-AC42-4AD6-98E0-80F7EC63F764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04" creationId="{4FABC350-58A6-408D-BB37-62C1B046AF28}"/>
          </ac:spMkLst>
        </pc:spChg>
        <pc:spChg chg="del">
          <ac:chgData name="Umholtz, Jake" userId="68c67aa9-53c4-4aab-a03d-c07f0aadf984" providerId="ADAL" clId="{A9556D7F-CC22-4AB2-A243-FC3401A6D166}" dt="2022-08-19T15:18:06.759" v="10480" actId="478"/>
          <ac:spMkLst>
            <pc:docMk/>
            <pc:sldMk cId="2062970365" sldId="765"/>
            <ac:spMk id="105" creationId="{CCCC734A-C57E-410D-B5A5-BC47B8BA63AF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06" creationId="{D626A826-93E8-4882-A1C1-45FFE9BF6089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07" creationId="{3D2F90D7-A13A-4887-A373-3BE0BEC51615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08" creationId="{29EF69E9-7F38-4B85-9F75-DB513DB8A8DA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09" creationId="{58FCC439-BD8B-46F6-A0F5-C4B7EE2114C2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10" creationId="{1CC600D2-1B61-42B8-A53D-A0A30767A817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11" creationId="{638C9B80-D9F8-4D8D-91B0-36D6AB20E6B8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12" creationId="{053628EA-C5F1-46AF-A035-BCB2B1756BB1}"/>
          </ac:spMkLst>
        </pc:spChg>
        <pc:spChg chg="del mod">
          <ac:chgData name="Umholtz, Jake" userId="68c67aa9-53c4-4aab-a03d-c07f0aadf984" providerId="ADAL" clId="{A9556D7F-CC22-4AB2-A243-FC3401A6D166}" dt="2022-08-19T15:18:14.793" v="10486" actId="478"/>
          <ac:spMkLst>
            <pc:docMk/>
            <pc:sldMk cId="2062970365" sldId="765"/>
            <ac:spMk id="113" creationId="{043C274B-2C0D-4EF5-9D2D-186BA04A4A62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14" creationId="{27443C9F-6F38-41D1-9AF7-CF5253A53CFD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15" creationId="{F92BC711-077A-4D01-94DA-7128D3D3BB6A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16" creationId="{D4EDFEF8-557F-49C3-A558-7FE3B642AC34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17" creationId="{F47F58C7-752C-4FDC-9F43-3B74321284D0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18" creationId="{B6E06635-EE33-4C96-9B5F-CD0289A06793}"/>
          </ac:spMkLst>
        </pc:spChg>
        <pc:spChg chg="del">
          <ac:chgData name="Umholtz, Jake" userId="68c67aa9-53c4-4aab-a03d-c07f0aadf984" providerId="ADAL" clId="{A9556D7F-CC22-4AB2-A243-FC3401A6D166}" dt="2022-08-19T15:18:10.968" v="10484" actId="478"/>
          <ac:spMkLst>
            <pc:docMk/>
            <pc:sldMk cId="2062970365" sldId="765"/>
            <ac:spMk id="119" creationId="{744FF225-4BB4-42B6-ABE2-F4E1036D3532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21" creationId="{B7863747-380F-491C-93DA-288B079909C6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24" creationId="{5194EB07-41F2-45B3-B7B8-36D6EBAC8DF7}"/>
          </ac:spMkLst>
        </pc:spChg>
        <pc:spChg chg="mod">
          <ac:chgData name="Umholtz, Jake" userId="68c67aa9-53c4-4aab-a03d-c07f0aadf984" providerId="ADAL" clId="{A9556D7F-CC22-4AB2-A243-FC3401A6D166}" dt="2022-08-19T16:24:52.505" v="11010" actId="1076"/>
          <ac:spMkLst>
            <pc:docMk/>
            <pc:sldMk cId="2062970365" sldId="765"/>
            <ac:spMk id="127" creationId="{8700C81D-8B09-45CB-9BA7-46CE17AC84C4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28" creationId="{3462ED85-0C05-4CE2-AE44-6035A8D1A9C4}"/>
          </ac:spMkLst>
        </pc:spChg>
        <pc:spChg chg="add del mod">
          <ac:chgData name="Umholtz, Jake" userId="68c67aa9-53c4-4aab-a03d-c07f0aadf984" providerId="ADAL" clId="{A9556D7F-CC22-4AB2-A243-FC3401A6D166}" dt="2022-08-19T16:25:05.813" v="11015" actId="478"/>
          <ac:spMkLst>
            <pc:docMk/>
            <pc:sldMk cId="2062970365" sldId="765"/>
            <ac:spMk id="129" creationId="{DFD0DB57-AC18-4EF1-907F-BF455E79E8D1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31" creationId="{8DAD929B-B306-448A-8D7F-6670106F5B07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32" creationId="{02DA98FE-67F2-4190-B846-BC71955D5DCF}"/>
          </ac:spMkLst>
        </pc:spChg>
        <pc:spChg chg="mod">
          <ac:chgData name="Umholtz, Jake" userId="68c67aa9-53c4-4aab-a03d-c07f0aadf984" providerId="ADAL" clId="{A9556D7F-CC22-4AB2-A243-FC3401A6D166}" dt="2022-08-19T16:27:02.199" v="11042" actId="207"/>
          <ac:spMkLst>
            <pc:docMk/>
            <pc:sldMk cId="2062970365" sldId="765"/>
            <ac:spMk id="133" creationId="{08C2B58E-E10B-4CEF-BF74-8606F6D98420}"/>
          </ac:spMkLst>
        </pc:spChg>
        <pc:spChg chg="mod">
          <ac:chgData name="Umholtz, Jake" userId="68c67aa9-53c4-4aab-a03d-c07f0aadf984" providerId="ADAL" clId="{A9556D7F-CC22-4AB2-A243-FC3401A6D166}" dt="2022-08-19T16:23:21.988" v="10986" actId="14100"/>
          <ac:spMkLst>
            <pc:docMk/>
            <pc:sldMk cId="2062970365" sldId="765"/>
            <ac:spMk id="134" creationId="{4AB60942-A244-4F0B-8B45-012B9C782162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36" creationId="{500582AA-607B-4C0A-9AA8-B49305A1C27A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37" creationId="{8EEC739B-9B53-49BA-94AC-06DD070756DA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39" creationId="{870972BF-AB98-4CC2-BB60-84903DB5CFE2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41" creationId="{78FD4A15-BB61-4D87-9E87-382B927FB4C9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42" creationId="{4BC9A539-3667-4BFE-9E4F-81FA02EFA619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44" creationId="{A05F4DB7-700C-4A2E-969D-33283C120EC9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45" creationId="{790BD73C-DE12-4489-882E-13024C466361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46" creationId="{15FDF464-77C7-4E79-91EF-7F13541D888A}"/>
          </ac:spMkLst>
        </pc:spChg>
        <pc:spChg chg="add del mod topLvl">
          <ac:chgData name="Umholtz, Jake" userId="68c67aa9-53c4-4aab-a03d-c07f0aadf984" providerId="ADAL" clId="{A9556D7F-CC22-4AB2-A243-FC3401A6D166}" dt="2022-08-19T16:21:28.448" v="10975" actId="478"/>
          <ac:spMkLst>
            <pc:docMk/>
            <pc:sldMk cId="2062970365" sldId="765"/>
            <ac:spMk id="147" creationId="{B218BD5D-ED08-49ED-BA00-6C403F0988DA}"/>
          </ac:spMkLst>
        </pc:spChg>
        <pc:spChg chg="del">
          <ac:chgData name="Umholtz, Jake" userId="68c67aa9-53c4-4aab-a03d-c07f0aadf984" providerId="ADAL" clId="{A9556D7F-CC22-4AB2-A243-FC3401A6D166}" dt="2022-08-19T15:18:09.950" v="10483" actId="478"/>
          <ac:spMkLst>
            <pc:docMk/>
            <pc:sldMk cId="2062970365" sldId="765"/>
            <ac:spMk id="148" creationId="{CA0BB8F2-9CB8-4B26-9351-D5522ADF53AB}"/>
          </ac:spMkLst>
        </pc:spChg>
        <pc:spChg chg="del">
          <ac:chgData name="Umholtz, Jake" userId="68c67aa9-53c4-4aab-a03d-c07f0aadf984" providerId="ADAL" clId="{A9556D7F-CC22-4AB2-A243-FC3401A6D166}" dt="2022-08-19T15:18:31.288" v="10489" actId="478"/>
          <ac:spMkLst>
            <pc:docMk/>
            <pc:sldMk cId="2062970365" sldId="765"/>
            <ac:spMk id="149" creationId="{81AB32D8-1E1F-4805-A285-6CDA13E7FA8B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0" creationId="{37F4D018-52D1-43F5-90FA-FD3489D874A2}"/>
          </ac:spMkLst>
        </pc:spChg>
        <pc:spChg chg="mod topLvl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1" creationId="{1B2D7A2E-05BD-40D9-B7DD-7C6514CD2561}"/>
          </ac:spMkLst>
        </pc:spChg>
        <pc:spChg chg="del">
          <ac:chgData name="Umholtz, Jake" userId="68c67aa9-53c4-4aab-a03d-c07f0aadf984" providerId="ADAL" clId="{A9556D7F-CC22-4AB2-A243-FC3401A6D166}" dt="2022-08-19T15:18:09.319" v="10482" actId="478"/>
          <ac:spMkLst>
            <pc:docMk/>
            <pc:sldMk cId="2062970365" sldId="765"/>
            <ac:spMk id="152" creationId="{CD51B204-B0AD-40BE-A05C-CD6A094230A6}"/>
          </ac:spMkLst>
        </pc:spChg>
        <pc:spChg chg="add del mod topLvl">
          <ac:chgData name="Umholtz, Jake" userId="68c67aa9-53c4-4aab-a03d-c07f0aadf984" providerId="ADAL" clId="{A9556D7F-CC22-4AB2-A243-FC3401A6D166}" dt="2022-08-19T16:25:17.307" v="11025" actId="478"/>
          <ac:spMkLst>
            <pc:docMk/>
            <pc:sldMk cId="2062970365" sldId="765"/>
            <ac:spMk id="153" creationId="{F0CB5C78-806A-4062-A3FE-9B93B43A1AE9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5" creationId="{68414C74-9DA3-402A-9D0B-D79AE4BF2211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6" creationId="{8D6B0C56-6DA7-4581-B8C8-22DDD9BE263F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7" creationId="{988EA793-FA74-44B2-B525-1DD52D2E4BF9}"/>
          </ac:spMkLst>
        </pc:spChg>
        <pc:spChg chg="mod">
          <ac:chgData name="Umholtz, Jake" userId="68c67aa9-53c4-4aab-a03d-c07f0aadf984" providerId="ADAL" clId="{A9556D7F-CC22-4AB2-A243-FC3401A6D166}" dt="2022-08-19T16:20:46.183" v="10959" actId="165"/>
          <ac:spMkLst>
            <pc:docMk/>
            <pc:sldMk cId="2062970365" sldId="765"/>
            <ac:spMk id="158" creationId="{4B5F7AC2-1B0F-4EEA-BC80-AE899365B441}"/>
          </ac:spMkLst>
        </pc:spChg>
        <pc:spChg chg="del mod topLvl">
          <ac:chgData name="Umholtz, Jake" userId="68c67aa9-53c4-4aab-a03d-c07f0aadf984" providerId="ADAL" clId="{A9556D7F-CC22-4AB2-A243-FC3401A6D166}" dt="2022-08-19T16:25:53.277" v="11032" actId="478"/>
          <ac:spMkLst>
            <pc:docMk/>
            <pc:sldMk cId="2062970365" sldId="765"/>
            <ac:spMk id="159" creationId="{3A5E8132-90F6-4363-8253-88158E2CBC05}"/>
          </ac:spMkLst>
        </pc:spChg>
        <pc:grpChg chg="add del mod">
          <ac:chgData name="Umholtz, Jake" userId="68c67aa9-53c4-4aab-a03d-c07f0aadf984" providerId="ADAL" clId="{A9556D7F-CC22-4AB2-A243-FC3401A6D166}" dt="2022-08-19T16:20:46.183" v="10959" actId="165"/>
          <ac:grpSpMkLst>
            <pc:docMk/>
            <pc:sldMk cId="2062970365" sldId="765"/>
            <ac:grpSpMk id="8" creationId="{D926FBC3-4B6E-4D95-86B4-7F1CC11D8B88}"/>
          </ac:grpSpMkLst>
        </pc:grpChg>
        <pc:grpChg chg="add del mod">
          <ac:chgData name="Umholtz, Jake" userId="68c67aa9-53c4-4aab-a03d-c07f0aadf984" providerId="ADAL" clId="{A9556D7F-CC22-4AB2-A243-FC3401A6D166}" dt="2022-08-19T16:20:36.147" v="10955"/>
          <ac:grpSpMkLst>
            <pc:docMk/>
            <pc:sldMk cId="2062970365" sldId="765"/>
            <ac:grpSpMk id="60" creationId="{AD2C9EB4-302F-4D21-937E-B76CAFED94DC}"/>
          </ac:grpSpMkLst>
        </pc:grpChg>
        <pc:grpChg chg="add mod">
          <ac:chgData name="Umholtz, Jake" userId="68c67aa9-53c4-4aab-a03d-c07f0aadf984" providerId="ADAL" clId="{A9556D7F-CC22-4AB2-A243-FC3401A6D166}" dt="2022-08-19T16:24:41.736" v="11005" actId="1076"/>
          <ac:grpSpMkLst>
            <pc:docMk/>
            <pc:sldMk cId="2062970365" sldId="765"/>
            <ac:grpSpMk id="72" creationId="{8BCCA547-9AF3-4E93-8FD3-998E0C6BAD23}"/>
          </ac:grpSpMkLst>
        </pc:grpChg>
        <pc:grpChg chg="add del mod">
          <ac:chgData name="Umholtz, Jake" userId="68c67aa9-53c4-4aab-a03d-c07f0aadf984" providerId="ADAL" clId="{A9556D7F-CC22-4AB2-A243-FC3401A6D166}" dt="2022-08-19T16:25:16.621" v="11024" actId="478"/>
          <ac:grpSpMkLst>
            <pc:docMk/>
            <pc:sldMk cId="2062970365" sldId="765"/>
            <ac:grpSpMk id="84" creationId="{AF383728-D674-477F-8C04-779E06240960}"/>
          </ac:grpSpMkLst>
        </pc:grpChg>
        <pc:grpChg chg="add del mod">
          <ac:chgData name="Umholtz, Jake" userId="68c67aa9-53c4-4aab-a03d-c07f0aadf984" providerId="ADAL" clId="{A9556D7F-CC22-4AB2-A243-FC3401A6D166}" dt="2022-08-19T16:25:11.958" v="11020"/>
          <ac:grpSpMkLst>
            <pc:docMk/>
            <pc:sldMk cId="2062970365" sldId="765"/>
            <ac:grpSpMk id="88" creationId="{93CB7295-7880-4C27-A19C-B0646EE18A5C}"/>
          </ac:grpSpMkLst>
        </pc:grpChg>
        <pc:grpChg chg="add mod">
          <ac:chgData name="Umholtz, Jake" userId="68c67aa9-53c4-4aab-a03d-c07f0aadf984" providerId="ADAL" clId="{A9556D7F-CC22-4AB2-A243-FC3401A6D166}" dt="2022-08-19T16:25:35.159" v="11028" actId="1076"/>
          <ac:grpSpMkLst>
            <pc:docMk/>
            <pc:sldMk cId="2062970365" sldId="765"/>
            <ac:grpSpMk id="93" creationId="{409CCE87-169D-4685-AAD1-8CF87A54736A}"/>
          </ac:grpSpMkLst>
        </pc:grpChg>
        <pc:grpChg chg="add mod">
          <ac:chgData name="Umholtz, Jake" userId="68c67aa9-53c4-4aab-a03d-c07f0aadf984" providerId="ADAL" clId="{A9556D7F-CC22-4AB2-A243-FC3401A6D166}" dt="2022-08-19T16:26:15.680" v="11036" actId="207"/>
          <ac:grpSpMkLst>
            <pc:docMk/>
            <pc:sldMk cId="2062970365" sldId="765"/>
            <ac:grpSpMk id="96" creationId="{81697C8D-B5B6-42B9-835D-05E7612B10B7}"/>
          </ac:grpSpMkLst>
        </pc:grpChg>
        <pc:grpChg chg="add mod">
          <ac:chgData name="Umholtz, Jake" userId="68c67aa9-53c4-4aab-a03d-c07f0aadf984" providerId="ADAL" clId="{A9556D7F-CC22-4AB2-A243-FC3401A6D166}" dt="2022-08-19T16:27:11.059" v="11043" actId="1076"/>
          <ac:grpSpMkLst>
            <pc:docMk/>
            <pc:sldMk cId="2062970365" sldId="765"/>
            <ac:grpSpMk id="103" creationId="{DC901FAF-7BD2-4360-BE3C-99A92173C6F3}"/>
          </ac:grpSpMkLst>
        </pc:grpChg>
        <pc:grpChg chg="del">
          <ac:chgData name="Umholtz, Jake" userId="68c67aa9-53c4-4aab-a03d-c07f0aadf984" providerId="ADAL" clId="{A9556D7F-CC22-4AB2-A243-FC3401A6D166}" dt="2022-08-19T15:18:08.400" v="10481" actId="478"/>
          <ac:grpSpMkLst>
            <pc:docMk/>
            <pc:sldMk cId="2062970365" sldId="765"/>
            <ac:grpSpMk id="120" creationId="{63EC2A19-030D-4F6D-AAE3-0638CADC878A}"/>
          </ac:grpSpMkLst>
        </pc:grpChg>
        <pc:grpChg chg="mod topLvl">
          <ac:chgData name="Umholtz, Jake" userId="68c67aa9-53c4-4aab-a03d-c07f0aadf984" providerId="ADAL" clId="{A9556D7F-CC22-4AB2-A243-FC3401A6D166}" dt="2022-08-19T16:24:41.050" v="11004" actId="1076"/>
          <ac:grpSpMkLst>
            <pc:docMk/>
            <pc:sldMk cId="2062970365" sldId="765"/>
            <ac:grpSpMk id="126" creationId="{A6664128-FFF9-4B21-8A4E-12599E521DD0}"/>
          </ac:grpSpMkLst>
        </pc:grpChg>
        <pc:grpChg chg="mod topLvl">
          <ac:chgData name="Umholtz, Jake" userId="68c67aa9-53c4-4aab-a03d-c07f0aadf984" providerId="ADAL" clId="{A9556D7F-CC22-4AB2-A243-FC3401A6D166}" dt="2022-08-19T16:22:55.970" v="10978" actId="1076"/>
          <ac:grpSpMkLst>
            <pc:docMk/>
            <pc:sldMk cId="2062970365" sldId="765"/>
            <ac:grpSpMk id="130" creationId="{B5416F2C-AE2C-4787-B0F9-06E24C1BCA16}"/>
          </ac:grpSpMkLst>
        </pc:grpChg>
        <pc:grpChg chg="mod topLvl">
          <ac:chgData name="Umholtz, Jake" userId="68c67aa9-53c4-4aab-a03d-c07f0aadf984" providerId="ADAL" clId="{A9556D7F-CC22-4AB2-A243-FC3401A6D166}" dt="2022-08-19T16:20:46.183" v="10959" actId="165"/>
          <ac:grpSpMkLst>
            <pc:docMk/>
            <pc:sldMk cId="2062970365" sldId="765"/>
            <ac:grpSpMk id="135" creationId="{583E8883-3086-48B1-8236-60731D417E74}"/>
          </ac:grpSpMkLst>
        </pc:grpChg>
        <pc:grpChg chg="mod topLvl">
          <ac:chgData name="Umholtz, Jake" userId="68c67aa9-53c4-4aab-a03d-c07f0aadf984" providerId="ADAL" clId="{A9556D7F-CC22-4AB2-A243-FC3401A6D166}" dt="2022-08-19T16:20:46.183" v="10959" actId="165"/>
          <ac:grpSpMkLst>
            <pc:docMk/>
            <pc:sldMk cId="2062970365" sldId="765"/>
            <ac:grpSpMk id="140" creationId="{2746340E-86D4-41CA-93A9-4E98D191BE05}"/>
          </ac:grpSpMkLst>
        </pc:grpChg>
        <pc:grpChg chg="mod">
          <ac:chgData name="Umholtz, Jake" userId="68c67aa9-53c4-4aab-a03d-c07f0aadf984" providerId="ADAL" clId="{A9556D7F-CC22-4AB2-A243-FC3401A6D166}" dt="2022-08-19T16:20:46.183" v="10959" actId="165"/>
          <ac:grpSpMkLst>
            <pc:docMk/>
            <pc:sldMk cId="2062970365" sldId="765"/>
            <ac:grpSpMk id="143" creationId="{E0D16D89-D72D-4F33-88DE-F94293011149}"/>
          </ac:grpSpMkLst>
        </pc:grpChg>
        <pc:grpChg chg="del mod topLvl">
          <ac:chgData name="Umholtz, Jake" userId="68c67aa9-53c4-4aab-a03d-c07f0aadf984" providerId="ADAL" clId="{A9556D7F-CC22-4AB2-A243-FC3401A6D166}" dt="2022-08-19T16:26:46.048" v="11038" actId="478"/>
          <ac:grpSpMkLst>
            <pc:docMk/>
            <pc:sldMk cId="2062970365" sldId="765"/>
            <ac:grpSpMk id="154" creationId="{C6FA0BEA-237C-4B7A-8EE8-2F9E03DEFA6B}"/>
          </ac:grpSpMkLst>
        </pc:grpChg>
      </pc:sldChg>
      <pc:sldChg chg="addSp delSp modSp add del mod">
        <pc:chgData name="Umholtz, Jake" userId="68c67aa9-53c4-4aab-a03d-c07f0aadf984" providerId="ADAL" clId="{A9556D7F-CC22-4AB2-A243-FC3401A6D166}" dt="2022-08-19T15:04:39.037" v="10388" actId="47"/>
        <pc:sldMkLst>
          <pc:docMk/>
          <pc:sldMk cId="2161339942" sldId="781"/>
        </pc:sldMkLst>
        <pc:spChg chg="del">
          <ac:chgData name="Umholtz, Jake" userId="68c67aa9-53c4-4aab-a03d-c07f0aadf984" providerId="ADAL" clId="{A9556D7F-CC22-4AB2-A243-FC3401A6D166}" dt="2022-08-19T15:03:36.712" v="10298" actId="478"/>
          <ac:spMkLst>
            <pc:docMk/>
            <pc:sldMk cId="2161339942" sldId="781"/>
            <ac:spMk id="3" creationId="{8D62DCEF-3D8C-4E29-8B65-84F7EBF133D8}"/>
          </ac:spMkLst>
        </pc:spChg>
        <pc:spChg chg="add del mod">
          <ac:chgData name="Umholtz, Jake" userId="68c67aa9-53c4-4aab-a03d-c07f0aadf984" providerId="ADAL" clId="{A9556D7F-CC22-4AB2-A243-FC3401A6D166}" dt="2022-08-19T15:03:38.830" v="10299" actId="478"/>
          <ac:spMkLst>
            <pc:docMk/>
            <pc:sldMk cId="2161339942" sldId="781"/>
            <ac:spMk id="5" creationId="{ADF01567-68B7-4B62-A23A-B81EA6741DA6}"/>
          </ac:spMkLst>
        </pc:spChg>
        <pc:spChg chg="mod">
          <ac:chgData name="Umholtz, Jake" userId="68c67aa9-53c4-4aab-a03d-c07f0aadf984" providerId="ADAL" clId="{A9556D7F-CC22-4AB2-A243-FC3401A6D166}" dt="2022-08-19T15:03:51.594" v="10327" actId="20577"/>
          <ac:spMkLst>
            <pc:docMk/>
            <pc:sldMk cId="2161339942" sldId="781"/>
            <ac:spMk id="17" creationId="{E8687110-9F68-4F94-9FCA-5E4B7C5AC2E6}"/>
          </ac:spMkLst>
        </pc:spChg>
        <pc:spChg chg="del">
          <ac:chgData name="Umholtz, Jake" userId="68c67aa9-53c4-4aab-a03d-c07f0aadf984" providerId="ADAL" clId="{A9556D7F-CC22-4AB2-A243-FC3401A6D166}" dt="2022-08-19T15:03:42.191" v="10301" actId="478"/>
          <ac:spMkLst>
            <pc:docMk/>
            <pc:sldMk cId="2161339942" sldId="781"/>
            <ac:spMk id="18" creationId="{4A9C4F28-5C10-4BD9-8269-4E3C81F96979}"/>
          </ac:spMkLst>
        </pc:spChg>
        <pc:spChg chg="add mod">
          <ac:chgData name="Umholtz, Jake" userId="68c67aa9-53c4-4aab-a03d-c07f0aadf984" providerId="ADAL" clId="{A9556D7F-CC22-4AB2-A243-FC3401A6D166}" dt="2022-08-19T15:03:40.072" v="10300"/>
          <ac:spMkLst>
            <pc:docMk/>
            <pc:sldMk cId="2161339942" sldId="781"/>
            <ac:spMk id="21" creationId="{67D3C701-0C94-4435-A04E-8A58F55ADF6F}"/>
          </ac:spMkLst>
        </pc:spChg>
        <pc:spChg chg="add mod">
          <ac:chgData name="Umholtz, Jake" userId="68c67aa9-53c4-4aab-a03d-c07f0aadf984" providerId="ADAL" clId="{A9556D7F-CC22-4AB2-A243-FC3401A6D166}" dt="2022-08-19T15:03:40.072" v="10300"/>
          <ac:spMkLst>
            <pc:docMk/>
            <pc:sldMk cId="2161339942" sldId="781"/>
            <ac:spMk id="22" creationId="{BA24260C-3C3D-4473-AB76-E682BBA8DF92}"/>
          </ac:spMkLst>
        </pc:spChg>
        <pc:spChg chg="mod">
          <ac:chgData name="Umholtz, Jake" userId="68c67aa9-53c4-4aab-a03d-c07f0aadf984" providerId="ADAL" clId="{A9556D7F-CC22-4AB2-A243-FC3401A6D166}" dt="2022-08-19T15:03:15.071" v="10296" actId="165"/>
          <ac:spMkLst>
            <pc:docMk/>
            <pc:sldMk cId="2161339942" sldId="781"/>
            <ac:spMk id="29" creationId="{07F5D8AC-4449-4BB8-BFF0-9C9F859C1170}"/>
          </ac:spMkLst>
        </pc:spChg>
        <pc:spChg chg="mod">
          <ac:chgData name="Umholtz, Jake" userId="68c67aa9-53c4-4aab-a03d-c07f0aadf984" providerId="ADAL" clId="{A9556D7F-CC22-4AB2-A243-FC3401A6D166}" dt="2022-08-19T15:03:15.071" v="10296" actId="165"/>
          <ac:spMkLst>
            <pc:docMk/>
            <pc:sldMk cId="2161339942" sldId="781"/>
            <ac:spMk id="30" creationId="{CB41DF92-F94D-4BC7-8245-B5570A894C20}"/>
          </ac:spMkLst>
        </pc:spChg>
        <pc:spChg chg="mod">
          <ac:chgData name="Umholtz, Jake" userId="68c67aa9-53c4-4aab-a03d-c07f0aadf984" providerId="ADAL" clId="{A9556D7F-CC22-4AB2-A243-FC3401A6D166}" dt="2022-08-19T15:03:15.071" v="10296" actId="165"/>
          <ac:spMkLst>
            <pc:docMk/>
            <pc:sldMk cId="2161339942" sldId="781"/>
            <ac:spMk id="31" creationId="{261E6A4F-A9F1-4904-8054-DF7355C0B198}"/>
          </ac:spMkLst>
        </pc:spChg>
        <pc:spChg chg="del">
          <ac:chgData name="Umholtz, Jake" userId="68c67aa9-53c4-4aab-a03d-c07f0aadf984" providerId="ADAL" clId="{A9556D7F-CC22-4AB2-A243-FC3401A6D166}" dt="2022-08-19T15:03:08.859" v="10294" actId="478"/>
          <ac:spMkLst>
            <pc:docMk/>
            <pc:sldMk cId="2161339942" sldId="781"/>
            <ac:spMk id="33" creationId="{0A7EE1CD-19E7-449D-BFAB-05DDF9EE5831}"/>
          </ac:spMkLst>
        </pc:spChg>
        <pc:spChg chg="del">
          <ac:chgData name="Umholtz, Jake" userId="68c67aa9-53c4-4aab-a03d-c07f0aadf984" providerId="ADAL" clId="{A9556D7F-CC22-4AB2-A243-FC3401A6D166}" dt="2022-08-19T15:03:04.997" v="10291" actId="478"/>
          <ac:spMkLst>
            <pc:docMk/>
            <pc:sldMk cId="2161339942" sldId="781"/>
            <ac:spMk id="34" creationId="{1642AC1E-9B7D-4971-89BF-313E019C1AAF}"/>
          </ac:spMkLst>
        </pc:spChg>
        <pc:spChg chg="mod">
          <ac:chgData name="Umholtz, Jake" userId="68c67aa9-53c4-4aab-a03d-c07f0aadf984" providerId="ADAL" clId="{A9556D7F-CC22-4AB2-A243-FC3401A6D166}" dt="2022-08-19T15:04:00.630" v="10345" actId="20577"/>
          <ac:spMkLst>
            <pc:docMk/>
            <pc:sldMk cId="2161339942" sldId="781"/>
            <ac:spMk id="37" creationId="{87774C8B-E0A8-48D8-9793-AA762ACDF4CB}"/>
          </ac:spMkLst>
        </pc:spChg>
        <pc:spChg chg="mod">
          <ac:chgData name="Umholtz, Jake" userId="68c67aa9-53c4-4aab-a03d-c07f0aadf984" providerId="ADAL" clId="{A9556D7F-CC22-4AB2-A243-FC3401A6D166}" dt="2022-08-19T15:03:15.071" v="10296" actId="165"/>
          <ac:spMkLst>
            <pc:docMk/>
            <pc:sldMk cId="2161339942" sldId="781"/>
            <ac:spMk id="38" creationId="{F61D657E-D306-4757-9518-9F45CEFB31A2}"/>
          </ac:spMkLst>
        </pc:spChg>
        <pc:spChg chg="del">
          <ac:chgData name="Umholtz, Jake" userId="68c67aa9-53c4-4aab-a03d-c07f0aadf984" providerId="ADAL" clId="{A9556D7F-CC22-4AB2-A243-FC3401A6D166}" dt="2022-08-19T15:03:10.509" v="10295" actId="478"/>
          <ac:spMkLst>
            <pc:docMk/>
            <pc:sldMk cId="2161339942" sldId="781"/>
            <ac:spMk id="40" creationId="{F7881073-00C2-4475-8CCC-484C80765EE6}"/>
          </ac:spMkLst>
        </pc:spChg>
        <pc:spChg chg="mod">
          <ac:chgData name="Umholtz, Jake" userId="68c67aa9-53c4-4aab-a03d-c07f0aadf984" providerId="ADAL" clId="{A9556D7F-CC22-4AB2-A243-FC3401A6D166}" dt="2022-08-19T15:04:04.101" v="10346" actId="1076"/>
          <ac:spMkLst>
            <pc:docMk/>
            <pc:sldMk cId="2161339942" sldId="781"/>
            <ac:spMk id="41" creationId="{E406B972-B89E-4571-91BA-7E0ED2EB5D48}"/>
          </ac:spMkLst>
        </pc:spChg>
        <pc:grpChg chg="add del">
          <ac:chgData name="Umholtz, Jake" userId="68c67aa9-53c4-4aab-a03d-c07f0aadf984" providerId="ADAL" clId="{A9556D7F-CC22-4AB2-A243-FC3401A6D166}" dt="2022-08-19T15:03:15.071" v="10296" actId="165"/>
          <ac:grpSpMkLst>
            <pc:docMk/>
            <pc:sldMk cId="2161339942" sldId="781"/>
            <ac:grpSpMk id="4" creationId="{A3FFE1B2-02A7-4CD7-8F86-48AB8C8B044A}"/>
          </ac:grpSpMkLst>
        </pc:grpChg>
        <pc:grpChg chg="mod topLvl">
          <ac:chgData name="Umholtz, Jake" userId="68c67aa9-53c4-4aab-a03d-c07f0aadf984" providerId="ADAL" clId="{A9556D7F-CC22-4AB2-A243-FC3401A6D166}" dt="2022-08-19T15:03:15.071" v="10296" actId="165"/>
          <ac:grpSpMkLst>
            <pc:docMk/>
            <pc:sldMk cId="2161339942" sldId="781"/>
            <ac:grpSpMk id="15" creationId="{566B2781-9813-4097-81CB-AF4E9E0FB761}"/>
          </ac:grpSpMkLst>
        </pc:grpChg>
        <pc:grpChg chg="mod">
          <ac:chgData name="Umholtz, Jake" userId="68c67aa9-53c4-4aab-a03d-c07f0aadf984" providerId="ADAL" clId="{A9556D7F-CC22-4AB2-A243-FC3401A6D166}" dt="2022-08-19T15:03:15.071" v="10296" actId="165"/>
          <ac:grpSpMkLst>
            <pc:docMk/>
            <pc:sldMk cId="2161339942" sldId="781"/>
            <ac:grpSpMk id="28" creationId="{F9C01E21-7BA7-46AF-9C59-4F4E9B9EE8FC}"/>
          </ac:grpSpMkLst>
        </pc:grpChg>
        <pc:grpChg chg="del">
          <ac:chgData name="Umholtz, Jake" userId="68c67aa9-53c4-4aab-a03d-c07f0aadf984" providerId="ADAL" clId="{A9556D7F-CC22-4AB2-A243-FC3401A6D166}" dt="2022-08-19T15:03:04.997" v="10291" actId="478"/>
          <ac:grpSpMkLst>
            <pc:docMk/>
            <pc:sldMk cId="2161339942" sldId="781"/>
            <ac:grpSpMk id="32" creationId="{2A03FCB1-F81A-48F2-AEDA-B20203F2EEC6}"/>
          </ac:grpSpMkLst>
        </pc:grpChg>
        <pc:grpChg chg="mod topLvl">
          <ac:chgData name="Umholtz, Jake" userId="68c67aa9-53c4-4aab-a03d-c07f0aadf984" providerId="ADAL" clId="{A9556D7F-CC22-4AB2-A243-FC3401A6D166}" dt="2022-08-19T15:04:15.262" v="10386" actId="1038"/>
          <ac:grpSpMkLst>
            <pc:docMk/>
            <pc:sldMk cId="2161339942" sldId="781"/>
            <ac:grpSpMk id="36" creationId="{E6F8C9A5-7120-4ACF-ADD8-C37B9434210B}"/>
          </ac:grpSpMkLst>
        </pc:grpChg>
      </pc:sldChg>
      <pc:sldChg chg="add del">
        <pc:chgData name="Umholtz, Jake" userId="68c67aa9-53c4-4aab-a03d-c07f0aadf984" providerId="ADAL" clId="{A9556D7F-CC22-4AB2-A243-FC3401A6D166}" dt="2022-08-18T18:22:33.784" v="6490" actId="47"/>
        <pc:sldMkLst>
          <pc:docMk/>
          <pc:sldMk cId="3825629147" sldId="797"/>
        </pc:sldMkLst>
      </pc:sldChg>
      <pc:sldMasterChg chg="delSldLayout">
        <pc:chgData name="Umholtz, Jake" userId="68c67aa9-53c4-4aab-a03d-c07f0aadf984" providerId="ADAL" clId="{A9556D7F-CC22-4AB2-A243-FC3401A6D166}" dt="2022-08-19T15:09:09.322" v="10471" actId="47"/>
        <pc:sldMasterMkLst>
          <pc:docMk/>
          <pc:sldMasterMk cId="638467292" sldId="2147483993"/>
        </pc:sldMasterMkLst>
        <pc:sldLayoutChg chg="del">
          <pc:chgData name="Umholtz, Jake" userId="68c67aa9-53c4-4aab-a03d-c07f0aadf984" providerId="ADAL" clId="{A9556D7F-CC22-4AB2-A243-FC3401A6D166}" dt="2022-08-17T18:57:08.810" v="0" actId="2696"/>
          <pc:sldLayoutMkLst>
            <pc:docMk/>
            <pc:sldMasterMk cId="638467292" sldId="2147483993"/>
            <pc:sldLayoutMk cId="3140336217" sldId="2147483994"/>
          </pc:sldLayoutMkLst>
        </pc:sldLayoutChg>
        <pc:sldLayoutChg chg="del">
          <pc:chgData name="Umholtz, Jake" userId="68c67aa9-53c4-4aab-a03d-c07f0aadf984" providerId="ADAL" clId="{A9556D7F-CC22-4AB2-A243-FC3401A6D166}" dt="2022-08-17T19:03:01.352" v="153" actId="2696"/>
          <pc:sldLayoutMkLst>
            <pc:docMk/>
            <pc:sldMasterMk cId="638467292" sldId="2147483993"/>
            <pc:sldLayoutMk cId="1215880349" sldId="2147484026"/>
          </pc:sldLayoutMkLst>
        </pc:sldLayoutChg>
        <pc:sldLayoutChg chg="del">
          <pc:chgData name="Umholtz, Jake" userId="68c67aa9-53c4-4aab-a03d-c07f0aadf984" providerId="ADAL" clId="{A9556D7F-CC22-4AB2-A243-FC3401A6D166}" dt="2022-08-17T18:59:50.901" v="1" actId="2696"/>
          <pc:sldLayoutMkLst>
            <pc:docMk/>
            <pc:sldMasterMk cId="638467292" sldId="2147483993"/>
            <pc:sldLayoutMk cId="2668375183" sldId="2147484027"/>
          </pc:sldLayoutMkLst>
        </pc:sldLayoutChg>
        <pc:sldLayoutChg chg="del">
          <pc:chgData name="Umholtz, Jake" userId="68c67aa9-53c4-4aab-a03d-c07f0aadf984" providerId="ADAL" clId="{A9556D7F-CC22-4AB2-A243-FC3401A6D166}" dt="2022-08-18T19:01:46.106" v="7546" actId="47"/>
          <pc:sldLayoutMkLst>
            <pc:docMk/>
            <pc:sldMasterMk cId="638467292" sldId="2147483993"/>
            <pc:sldLayoutMk cId="3401720157" sldId="2147484034"/>
          </pc:sldLayoutMkLst>
        </pc:sldLayoutChg>
        <pc:sldLayoutChg chg="del">
          <pc:chgData name="Umholtz, Jake" userId="68c67aa9-53c4-4aab-a03d-c07f0aadf984" providerId="ADAL" clId="{A9556D7F-CC22-4AB2-A243-FC3401A6D166}" dt="2022-08-19T15:09:09.322" v="10471" actId="47"/>
          <pc:sldLayoutMkLst>
            <pc:docMk/>
            <pc:sldMasterMk cId="638467292" sldId="2147483993"/>
            <pc:sldLayoutMk cId="3978642222" sldId="2147484035"/>
          </pc:sldLayoutMkLst>
        </pc:sldLayoutChg>
        <pc:sldLayoutChg chg="del">
          <pc:chgData name="Umholtz, Jake" userId="68c67aa9-53c4-4aab-a03d-c07f0aadf984" providerId="ADAL" clId="{A9556D7F-CC22-4AB2-A243-FC3401A6D166}" dt="2022-08-18T19:12:28.150" v="7677" actId="47"/>
          <pc:sldLayoutMkLst>
            <pc:docMk/>
            <pc:sldMasterMk cId="638467292" sldId="2147483993"/>
            <pc:sldLayoutMk cId="1120937834" sldId="2147484041"/>
          </pc:sldLayoutMkLst>
        </pc:sldLayoutChg>
        <pc:sldLayoutChg chg="del">
          <pc:chgData name="Umholtz, Jake" userId="68c67aa9-53c4-4aab-a03d-c07f0aadf984" providerId="ADAL" clId="{A9556D7F-CC22-4AB2-A243-FC3401A6D166}" dt="2022-08-18T16:34:37.162" v="5911" actId="47"/>
          <pc:sldLayoutMkLst>
            <pc:docMk/>
            <pc:sldMasterMk cId="638467292" sldId="2147483993"/>
            <pc:sldLayoutMk cId="3716859423" sldId="2147484041"/>
          </pc:sldLayoutMkLst>
        </pc:sldLayoutChg>
        <pc:sldLayoutChg chg="del">
          <pc:chgData name="Umholtz, Jake" userId="68c67aa9-53c4-4aab-a03d-c07f0aadf984" providerId="ADAL" clId="{A9556D7F-CC22-4AB2-A243-FC3401A6D166}" dt="2022-08-18T18:09:20.760" v="6347" actId="47"/>
          <pc:sldLayoutMkLst>
            <pc:docMk/>
            <pc:sldMasterMk cId="638467292" sldId="2147483993"/>
            <pc:sldLayoutMk cId="4179391876" sldId="2147484041"/>
          </pc:sldLayoutMkLst>
        </pc:sldLayoutChg>
        <pc:sldLayoutChg chg="del">
          <pc:chgData name="Umholtz, Jake" userId="68c67aa9-53c4-4aab-a03d-c07f0aadf984" providerId="ADAL" clId="{A9556D7F-CC22-4AB2-A243-FC3401A6D166}" dt="2022-08-18T18:22:33.784" v="6490" actId="47"/>
          <pc:sldLayoutMkLst>
            <pc:docMk/>
            <pc:sldMasterMk cId="638467292" sldId="2147483993"/>
            <pc:sldLayoutMk cId="3538340183" sldId="2147484042"/>
          </pc:sldLayoutMkLst>
        </pc:sldLayoutChg>
      </pc:sldMasterChg>
    </pc:docChg>
  </pc:docChgLst>
  <pc:docChgLst>
    <pc:chgData name="Gupta, Maanik" userId="S::maagupta@deloitte.com::df80c2e9-1ba8-47de-bdfe-c5555afca713" providerId="AD" clId="Web-{0F08AFCA-A21A-42FC-9D8A-2B11A3A8A190}"/>
    <pc:docChg chg="modSld">
      <pc:chgData name="Gupta, Maanik" userId="S::maagupta@deloitte.com::df80c2e9-1ba8-47de-bdfe-c5555afca713" providerId="AD" clId="Web-{0F08AFCA-A21A-42FC-9D8A-2B11A3A8A190}" dt="2022-08-19T17:38:39.878" v="155" actId="20577"/>
      <pc:docMkLst>
        <pc:docMk/>
      </pc:docMkLst>
      <pc:sldChg chg="modSp">
        <pc:chgData name="Gupta, Maanik" userId="S::maagupta@deloitte.com::df80c2e9-1ba8-47de-bdfe-c5555afca713" providerId="AD" clId="Web-{0F08AFCA-A21A-42FC-9D8A-2B11A3A8A190}" dt="2022-08-19T17:38:39.878" v="155" actId="20577"/>
        <pc:sldMkLst>
          <pc:docMk/>
          <pc:sldMk cId="922478694" sldId="609"/>
        </pc:sldMkLst>
        <pc:spChg chg="mod">
          <ac:chgData name="Gupta, Maanik" userId="S::maagupta@deloitte.com::df80c2e9-1ba8-47de-bdfe-c5555afca713" providerId="AD" clId="Web-{0F08AFCA-A21A-42FC-9D8A-2B11A3A8A190}" dt="2022-08-19T17:38:39.878" v="155" actId="20577"/>
          <ac:spMkLst>
            <pc:docMk/>
            <pc:sldMk cId="922478694" sldId="609"/>
            <ac:spMk id="17" creationId="{15BBC507-4FAF-4798-A48B-C2CFF51217E9}"/>
          </ac:spMkLst>
        </pc:spChg>
      </pc:sldChg>
    </pc:docChg>
  </pc:docChgLst>
  <pc:docChgLst>
    <pc:chgData name="Gupta, Maanik" userId="S::maagupta@deloitte.com::df80c2e9-1ba8-47de-bdfe-c5555afca713" providerId="AD" clId="Web-{E42A949D-67F7-44EB-AFA2-EC7E6B681B3E}"/>
    <pc:docChg chg="modSld">
      <pc:chgData name="Gupta, Maanik" userId="S::maagupta@deloitte.com::df80c2e9-1ba8-47de-bdfe-c5555afca713" providerId="AD" clId="Web-{E42A949D-67F7-44EB-AFA2-EC7E6B681B3E}" dt="2022-08-18T20:21:36.478" v="98"/>
      <pc:docMkLst>
        <pc:docMk/>
      </pc:docMkLst>
      <pc:sldChg chg="modNotes">
        <pc:chgData name="Gupta, Maanik" userId="S::maagupta@deloitte.com::df80c2e9-1ba8-47de-bdfe-c5555afca713" providerId="AD" clId="Web-{E42A949D-67F7-44EB-AFA2-EC7E6B681B3E}" dt="2022-08-18T20:21:36.478" v="98"/>
        <pc:sldMkLst>
          <pc:docMk/>
          <pc:sldMk cId="2745247743" sldId="462"/>
        </pc:sldMkLst>
      </pc:sldChg>
    </pc:docChg>
  </pc:docChgLst>
  <pc:docChgLst>
    <pc:chgData name="Gupta, Maanik" userId="S::maagupta@deloitte.com::df80c2e9-1ba8-47de-bdfe-c5555afca713" providerId="AD" clId="Web-{68870917-C662-43F5-AA70-D23F64FEC4AA}"/>
    <pc:docChg chg="modSld">
      <pc:chgData name="Gupta, Maanik" userId="S::maagupta@deloitte.com::df80c2e9-1ba8-47de-bdfe-c5555afca713" providerId="AD" clId="Web-{68870917-C662-43F5-AA70-D23F64FEC4AA}" dt="2022-08-18T16:11:06.244" v="216" actId="20577"/>
      <pc:docMkLst>
        <pc:docMk/>
      </pc:docMkLst>
      <pc:sldChg chg="modSp">
        <pc:chgData name="Gupta, Maanik" userId="S::maagupta@deloitte.com::df80c2e9-1ba8-47de-bdfe-c5555afca713" providerId="AD" clId="Web-{68870917-C662-43F5-AA70-D23F64FEC4AA}" dt="2022-08-18T16:11:06.244" v="216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68870917-C662-43F5-AA70-D23F64FEC4AA}" dt="2022-08-18T16:11:06.244" v="216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Sandlin, Maya" userId="S::msandlin@deloitte.com::329295a2-1b91-4dc4-8178-61636d7de7a9" providerId="AD" clId="Web-{3F484630-E7BA-2330-3577-E54C3D03744C}"/>
    <pc:docChg chg="addSld delSld modSld sldOrd">
      <pc:chgData name="Sandlin, Maya" userId="S::msandlin@deloitte.com::329295a2-1b91-4dc4-8178-61636d7de7a9" providerId="AD" clId="Web-{3F484630-E7BA-2330-3577-E54C3D03744C}" dt="2022-08-18T14:33:59.874" v="147" actId="20577"/>
      <pc:docMkLst>
        <pc:docMk/>
      </pc:docMkLst>
      <pc:sldChg chg="ord">
        <pc:chgData name="Sandlin, Maya" userId="S::msandlin@deloitte.com::329295a2-1b91-4dc4-8178-61636d7de7a9" providerId="AD" clId="Web-{3F484630-E7BA-2330-3577-E54C3D03744C}" dt="2022-08-18T14:30:39.806" v="3"/>
        <pc:sldMkLst>
          <pc:docMk/>
          <pc:sldMk cId="1604004944" sldId="272"/>
        </pc:sldMkLst>
      </pc:sldChg>
      <pc:sldChg chg="del">
        <pc:chgData name="Sandlin, Maya" userId="S::msandlin@deloitte.com::329295a2-1b91-4dc4-8178-61636d7de7a9" providerId="AD" clId="Web-{3F484630-E7BA-2330-3577-E54C3D03744C}" dt="2022-08-18T14:29:42.460" v="0"/>
        <pc:sldMkLst>
          <pc:docMk/>
          <pc:sldMk cId="1714877050" sldId="367"/>
        </pc:sldMkLst>
      </pc:sldChg>
      <pc:sldChg chg="addSp modSp new mod ord modClrScheme chgLayout">
        <pc:chgData name="Sandlin, Maya" userId="S::msandlin@deloitte.com::329295a2-1b91-4dc4-8178-61636d7de7a9" providerId="AD" clId="Web-{3F484630-E7BA-2330-3577-E54C3D03744C}" dt="2022-08-18T14:33:59.874" v="147" actId="20577"/>
        <pc:sldMkLst>
          <pc:docMk/>
          <pc:sldMk cId="1223724206" sldId="458"/>
        </pc:sldMkLst>
        <pc:spChg chg="mod ord">
          <ac:chgData name="Sandlin, Maya" userId="S::msandlin@deloitte.com::329295a2-1b91-4dc4-8178-61636d7de7a9" providerId="AD" clId="Web-{3F484630-E7BA-2330-3577-E54C3D03744C}" dt="2022-08-18T14:33:52.608" v="145" actId="20577"/>
          <ac:spMkLst>
            <pc:docMk/>
            <pc:sldMk cId="1223724206" sldId="458"/>
            <ac:spMk id="2" creationId="{78551FFF-6221-A16C-D62E-DE14EA63441F}"/>
          </ac:spMkLst>
        </pc:spChg>
        <pc:spChg chg="mod ord">
          <ac:chgData name="Sandlin, Maya" userId="S::msandlin@deloitte.com::329295a2-1b91-4dc4-8178-61636d7de7a9" providerId="AD" clId="Web-{3F484630-E7BA-2330-3577-E54C3D03744C}" dt="2022-08-18T14:33:59.874" v="147" actId="20577"/>
          <ac:spMkLst>
            <pc:docMk/>
            <pc:sldMk cId="1223724206" sldId="458"/>
            <ac:spMk id="3" creationId="{0343FCF2-09C0-D547-0F48-DC696BA52983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1:58.777" v="67" actId="20577"/>
          <ac:spMkLst>
            <pc:docMk/>
            <pc:sldMk cId="1223724206" sldId="458"/>
            <ac:spMk id="4" creationId="{A38FEBA9-4E0A-0A13-EB67-B0421CD5ECC9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0:59.728" v="5"/>
          <ac:spMkLst>
            <pc:docMk/>
            <pc:sldMk cId="1223724206" sldId="458"/>
            <ac:spMk id="5" creationId="{2BE67250-A51D-5D3B-BBB7-D04273C6D811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0:59.728" v="5"/>
          <ac:spMkLst>
            <pc:docMk/>
            <pc:sldMk cId="1223724206" sldId="458"/>
            <ac:spMk id="6" creationId="{0222F1C5-A2DE-5FC4-E74B-D35642823A17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0:59.728" v="5"/>
          <ac:spMkLst>
            <pc:docMk/>
            <pc:sldMk cId="1223724206" sldId="458"/>
            <ac:spMk id="7" creationId="{01509F4E-54A3-9DE7-ACD0-B416AD5260AD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0:59.728" v="5"/>
          <ac:spMkLst>
            <pc:docMk/>
            <pc:sldMk cId="1223724206" sldId="458"/>
            <ac:spMk id="8" creationId="{F32DD27B-4907-0F5D-ED56-6F0AB1E3D190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2:31.168" v="85" actId="20577"/>
          <ac:spMkLst>
            <pc:docMk/>
            <pc:sldMk cId="1223724206" sldId="458"/>
            <ac:spMk id="9" creationId="{CD07A0D3-435C-6605-7050-C2B03121D2AE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2:50.981" v="120" actId="20577"/>
          <ac:spMkLst>
            <pc:docMk/>
            <pc:sldMk cId="1223724206" sldId="458"/>
            <ac:spMk id="10" creationId="{D8420DAE-0BEB-1351-C48B-257CBD3338DB}"/>
          </ac:spMkLst>
        </pc:spChg>
        <pc:spChg chg="add mod ord">
          <ac:chgData name="Sandlin, Maya" userId="S::msandlin@deloitte.com::329295a2-1b91-4dc4-8178-61636d7de7a9" providerId="AD" clId="Web-{3F484630-E7BA-2330-3577-E54C3D03744C}" dt="2022-08-18T14:33:11.419" v="139" actId="20577"/>
          <ac:spMkLst>
            <pc:docMk/>
            <pc:sldMk cId="1223724206" sldId="458"/>
            <ac:spMk id="11" creationId="{8DDCC4C9-8B88-EE17-0B10-A724BE1A2759}"/>
          </ac:spMkLst>
        </pc:spChg>
      </pc:sldChg>
      <pc:sldChg chg="new del">
        <pc:chgData name="Sandlin, Maya" userId="S::msandlin@deloitte.com::329295a2-1b91-4dc4-8178-61636d7de7a9" providerId="AD" clId="Web-{3F484630-E7BA-2330-3577-E54C3D03744C}" dt="2022-08-18T14:30:35.634" v="2"/>
        <pc:sldMkLst>
          <pc:docMk/>
          <pc:sldMk cId="3792481674" sldId="458"/>
        </pc:sldMkLst>
      </pc:sldChg>
    </pc:docChg>
  </pc:docChgLst>
  <pc:docChgLst>
    <pc:chgData name="Gupta, Maanik" userId="S::maagupta@deloitte.com::df80c2e9-1ba8-47de-bdfe-c5555afca713" providerId="AD" clId="Web-{E9453700-053B-47D2-8BDD-24477591B0A4}"/>
    <pc:docChg chg="addSld modSld">
      <pc:chgData name="Gupta, Maanik" userId="S::maagupta@deloitte.com::df80c2e9-1ba8-47de-bdfe-c5555afca713" providerId="AD" clId="Web-{E9453700-053B-47D2-8BDD-24477591B0A4}" dt="2022-08-18T14:49:49.069" v="302" actId="20577"/>
      <pc:docMkLst>
        <pc:docMk/>
      </pc:docMkLst>
      <pc:sldChg chg="modSp">
        <pc:chgData name="Gupta, Maanik" userId="S::maagupta@deloitte.com::df80c2e9-1ba8-47de-bdfe-c5555afca713" providerId="AD" clId="Web-{E9453700-053B-47D2-8BDD-24477591B0A4}" dt="2022-08-18T14:42:18.558" v="67" actId="1076"/>
        <pc:sldMkLst>
          <pc:docMk/>
          <pc:sldMk cId="2204339894" sldId="408"/>
        </pc:sldMkLst>
        <pc:spChg chg="mod">
          <ac:chgData name="Gupta, Maanik" userId="S::maagupta@deloitte.com::df80c2e9-1ba8-47de-bdfe-c5555afca713" providerId="AD" clId="Web-{E9453700-053B-47D2-8BDD-24477591B0A4}" dt="2022-08-18T14:42:18.558" v="67" actId="1076"/>
          <ac:spMkLst>
            <pc:docMk/>
            <pc:sldMk cId="2204339894" sldId="408"/>
            <ac:spMk id="2" creationId="{00000000-0000-0000-0000-000000000000}"/>
          </ac:spMkLst>
        </pc:spChg>
      </pc:sldChg>
      <pc:sldChg chg="delSp modSp">
        <pc:chgData name="Gupta, Maanik" userId="S::maagupta@deloitte.com::df80c2e9-1ba8-47de-bdfe-c5555afca713" providerId="AD" clId="Web-{E9453700-053B-47D2-8BDD-24477591B0A4}" dt="2022-08-18T14:42:04.260" v="66" actId="20577"/>
        <pc:sldMkLst>
          <pc:docMk/>
          <pc:sldMk cId="1485223179" sldId="436"/>
        </pc:sldMkLst>
        <pc:spChg chg="mod">
          <ac:chgData name="Gupta, Maanik" userId="S::maagupta@deloitte.com::df80c2e9-1ba8-47de-bdfe-c5555afca713" providerId="AD" clId="Web-{E9453700-053B-47D2-8BDD-24477591B0A4}" dt="2022-08-18T14:41:18.976" v="21" actId="20577"/>
          <ac:spMkLst>
            <pc:docMk/>
            <pc:sldMk cId="1485223179" sldId="436"/>
            <ac:spMk id="2" creationId="{1A53A8AD-38C0-4854-81B3-9B99B4E007ED}"/>
          </ac:spMkLst>
        </pc:spChg>
        <pc:spChg chg="mod">
          <ac:chgData name="Gupta, Maanik" userId="S::maagupta@deloitte.com::df80c2e9-1ba8-47de-bdfe-c5555afca713" providerId="AD" clId="Web-{E9453700-053B-47D2-8BDD-24477591B0A4}" dt="2022-08-18T14:42:04.260" v="66" actId="20577"/>
          <ac:spMkLst>
            <pc:docMk/>
            <pc:sldMk cId="1485223179" sldId="436"/>
            <ac:spMk id="5" creationId="{00000000-0000-0000-0000-000000000000}"/>
          </ac:spMkLst>
        </pc:spChg>
        <pc:spChg chg="del mod">
          <ac:chgData name="Gupta, Maanik" userId="S::maagupta@deloitte.com::df80c2e9-1ba8-47de-bdfe-c5555afca713" providerId="AD" clId="Web-{E9453700-053B-47D2-8BDD-24477591B0A4}" dt="2022-08-18T14:41:24.820" v="25"/>
          <ac:spMkLst>
            <pc:docMk/>
            <pc:sldMk cId="1485223179" sldId="436"/>
            <ac:spMk id="7" creationId="{82C705DD-7E23-44C6-8FCD-4127D5AB736D}"/>
          </ac:spMkLst>
        </pc:spChg>
        <pc:picChg chg="mod">
          <ac:chgData name="Gupta, Maanik" userId="S::maagupta@deloitte.com::df80c2e9-1ba8-47de-bdfe-c5555afca713" providerId="AD" clId="Web-{E9453700-053B-47D2-8BDD-24477591B0A4}" dt="2022-08-18T14:41:41.478" v="30" actId="14100"/>
          <ac:picMkLst>
            <pc:docMk/>
            <pc:sldMk cId="1485223179" sldId="436"/>
            <ac:picMk id="10" creationId="{9D5C5EF4-9CCA-4665-825B-F674776CB05F}"/>
          </ac:picMkLst>
        </pc:picChg>
      </pc:sldChg>
      <pc:sldChg chg="modSp">
        <pc:chgData name="Gupta, Maanik" userId="S::maagupta@deloitte.com::df80c2e9-1ba8-47de-bdfe-c5555afca713" providerId="AD" clId="Web-{E9453700-053B-47D2-8BDD-24477591B0A4}" dt="2022-08-18T14:49:49.069" v="302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E9453700-053B-47D2-8BDD-24477591B0A4}" dt="2022-08-18T14:49:49.069" v="302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addSp delSp modSp add mod replId modClrScheme chgLayout">
        <pc:chgData name="Gupta, Maanik" userId="S::maagupta@deloitte.com::df80c2e9-1ba8-47de-bdfe-c5555afca713" providerId="AD" clId="Web-{E9453700-053B-47D2-8BDD-24477591B0A4}" dt="2022-08-18T14:44:52.551" v="106" actId="20577"/>
        <pc:sldMkLst>
          <pc:docMk/>
          <pc:sldMk cId="1714494625" sldId="459"/>
        </pc:sldMkLst>
        <pc:spChg chg="mod ord">
          <ac:chgData name="Gupta, Maanik" userId="S::maagupta@deloitte.com::df80c2e9-1ba8-47de-bdfe-c5555afca713" providerId="AD" clId="Web-{E9453700-053B-47D2-8BDD-24477591B0A4}" dt="2022-08-18T14:42:37.575" v="69"/>
          <ac:spMkLst>
            <pc:docMk/>
            <pc:sldMk cId="1714494625" sldId="459"/>
            <ac:spMk id="2" creationId="{00000000-0000-0000-0000-000000000000}"/>
          </ac:spMkLst>
        </pc:spChg>
        <pc:spChg chg="add mod ord">
          <ac:chgData name="Gupta, Maanik" userId="S::maagupta@deloitte.com::df80c2e9-1ba8-47de-bdfe-c5555afca713" providerId="AD" clId="Web-{E9453700-053B-47D2-8BDD-24477591B0A4}" dt="2022-08-18T14:44:52.551" v="106" actId="20577"/>
          <ac:spMkLst>
            <pc:docMk/>
            <pc:sldMk cId="1714494625" sldId="459"/>
            <ac:spMk id="3" creationId="{B3852ADB-BFEF-37E5-D20B-0174468DB396}"/>
          </ac:spMkLst>
        </pc:spChg>
        <pc:spChg chg="del mod">
          <ac:chgData name="Gupta, Maanik" userId="S::maagupta@deloitte.com::df80c2e9-1ba8-47de-bdfe-c5555afca713" providerId="AD" clId="Web-{E9453700-053B-47D2-8BDD-24477591B0A4}" dt="2022-08-18T14:43:44.438" v="91"/>
          <ac:spMkLst>
            <pc:docMk/>
            <pc:sldMk cId="1714494625" sldId="459"/>
            <ac:spMk id="4" creationId="{7DEE899B-F75F-4EE5-90EA-D3F49EAB01C8}"/>
          </ac:spMkLst>
        </pc:spChg>
        <pc:spChg chg="add mod ord">
          <ac:chgData name="Gupta, Maanik" userId="S::maagupta@deloitte.com::df80c2e9-1ba8-47de-bdfe-c5555afca713" providerId="AD" clId="Web-{E9453700-053B-47D2-8BDD-24477591B0A4}" dt="2022-08-18T14:44:07.049" v="97" actId="20577"/>
          <ac:spMkLst>
            <pc:docMk/>
            <pc:sldMk cId="1714494625" sldId="459"/>
            <ac:spMk id="5" creationId="{C2B756BC-73D1-43E2-6FB6-EE9424529B9B}"/>
          </ac:spMkLst>
        </pc:spChg>
        <pc:spChg chg="add mod ord">
          <ac:chgData name="Gupta, Maanik" userId="S::maagupta@deloitte.com::df80c2e9-1ba8-47de-bdfe-c5555afca713" providerId="AD" clId="Web-{E9453700-053B-47D2-8BDD-24477591B0A4}" dt="2022-08-18T14:44:02.392" v="96" actId="20577"/>
          <ac:spMkLst>
            <pc:docMk/>
            <pc:sldMk cId="1714494625" sldId="459"/>
            <ac:spMk id="6" creationId="{80FA4E29-28E0-53BB-4DBB-1BADEC688262}"/>
          </ac:spMkLst>
        </pc:spChg>
      </pc:sldChg>
    </pc:docChg>
  </pc:docChgLst>
  <pc:docChgLst>
    <pc:chgData name="Golden, Robert" userId="S::rogolden@deloitte.com::e29a84d5-4bdc-4cc8-8c2a-8f188b4d0479" providerId="AD" clId="Web-{9509DAC7-BF78-CB4A-17AE-A476556B62ED}"/>
    <pc:docChg chg="modSld">
      <pc:chgData name="Golden, Robert" userId="S::rogolden@deloitte.com::e29a84d5-4bdc-4cc8-8c2a-8f188b4d0479" providerId="AD" clId="Web-{9509DAC7-BF78-CB4A-17AE-A476556B62ED}" dt="2022-08-18T20:03:52.703" v="996"/>
      <pc:docMkLst>
        <pc:docMk/>
      </pc:docMkLst>
      <pc:sldChg chg="modNotes">
        <pc:chgData name="Golden, Robert" userId="S::rogolden@deloitte.com::e29a84d5-4bdc-4cc8-8c2a-8f188b4d0479" providerId="AD" clId="Web-{9509DAC7-BF78-CB4A-17AE-A476556B62ED}" dt="2022-08-18T19:47:38.604" v="47"/>
        <pc:sldMkLst>
          <pc:docMk/>
          <pc:sldMk cId="1701514505" sldId="676"/>
        </pc:sldMkLst>
      </pc:sldChg>
      <pc:sldChg chg="modNotes">
        <pc:chgData name="Golden, Robert" userId="S::rogolden@deloitte.com::e29a84d5-4bdc-4cc8-8c2a-8f188b4d0479" providerId="AD" clId="Web-{9509DAC7-BF78-CB4A-17AE-A476556B62ED}" dt="2022-08-18T20:03:52.703" v="996"/>
        <pc:sldMkLst>
          <pc:docMk/>
          <pc:sldMk cId="3876084295" sldId="677"/>
        </pc:sldMkLst>
      </pc:sldChg>
      <pc:sldChg chg="modSp">
        <pc:chgData name="Golden, Robert" userId="S::rogolden@deloitte.com::e29a84d5-4bdc-4cc8-8c2a-8f188b4d0479" providerId="AD" clId="Web-{9509DAC7-BF78-CB4A-17AE-A476556B62ED}" dt="2022-08-18T19:17:11.006" v="33" actId="20577"/>
        <pc:sldMkLst>
          <pc:docMk/>
          <pc:sldMk cId="3470529705" sldId="682"/>
        </pc:sldMkLst>
        <pc:spChg chg="mod">
          <ac:chgData name="Golden, Robert" userId="S::rogolden@deloitte.com::e29a84d5-4bdc-4cc8-8c2a-8f188b4d0479" providerId="AD" clId="Web-{9509DAC7-BF78-CB4A-17AE-A476556B62ED}" dt="2022-08-18T19:17:11.006" v="33" actId="20577"/>
          <ac:spMkLst>
            <pc:docMk/>
            <pc:sldMk cId="3470529705" sldId="682"/>
            <ac:spMk id="14" creationId="{665DC80B-5F67-6F7D-F3F7-6F891E5FB7AC}"/>
          </ac:spMkLst>
        </pc:spChg>
        <pc:spChg chg="mod">
          <ac:chgData name="Golden, Robert" userId="S::rogolden@deloitte.com::e29a84d5-4bdc-4cc8-8c2a-8f188b4d0479" providerId="AD" clId="Web-{9509DAC7-BF78-CB4A-17AE-A476556B62ED}" dt="2022-08-18T19:16:34.801" v="5" actId="20577"/>
          <ac:spMkLst>
            <pc:docMk/>
            <pc:sldMk cId="3470529705" sldId="682"/>
            <ac:spMk id="20" creationId="{E1CFD9EF-724A-4949-B697-38140BBA2958}"/>
          </ac:spMkLst>
        </pc:spChg>
      </pc:sldChg>
    </pc:docChg>
  </pc:docChgLst>
  <pc:docChgLst>
    <pc:chgData name="Gupta, Maanik" userId="S::maagupta@deloitte.com::df80c2e9-1ba8-47de-bdfe-c5555afca713" providerId="AD" clId="Web-{3BBC02D3-8EDD-4ED8-AC70-C99A08EE0618}"/>
    <pc:docChg chg="modSld">
      <pc:chgData name="Gupta, Maanik" userId="S::maagupta@deloitte.com::df80c2e9-1ba8-47de-bdfe-c5555afca713" providerId="AD" clId="Web-{3BBC02D3-8EDD-4ED8-AC70-C99A08EE0618}" dt="2022-08-18T19:26:24.675" v="119" actId="20577"/>
      <pc:docMkLst>
        <pc:docMk/>
      </pc:docMkLst>
      <pc:sldChg chg="modSp">
        <pc:chgData name="Gupta, Maanik" userId="S::maagupta@deloitte.com::df80c2e9-1ba8-47de-bdfe-c5555afca713" providerId="AD" clId="Web-{3BBC02D3-8EDD-4ED8-AC70-C99A08EE0618}" dt="2022-08-18T19:26:24.675" v="119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3BBC02D3-8EDD-4ED8-AC70-C99A08EE0618}" dt="2022-08-18T19:26:24.675" v="119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Robles, Daniel" userId="S::darobles@deloitte.com::fbcefa1a-afe9-41c1-8f2c-c18cf39f3320" providerId="AD" clId="Web-{E032695B-096E-4169-B3E1-8F8782E7EB49}"/>
    <pc:docChg chg="addSld modSld">
      <pc:chgData name="Robles, Daniel" userId="S::darobles@deloitte.com::fbcefa1a-afe9-41c1-8f2c-c18cf39f3320" providerId="AD" clId="Web-{E032695B-096E-4169-B3E1-8F8782E7EB49}" dt="2022-08-17T22:26:29.377" v="1" actId="20577"/>
      <pc:docMkLst>
        <pc:docMk/>
      </pc:docMkLst>
      <pc:sldChg chg="modSp add">
        <pc:chgData name="Robles, Daniel" userId="S::darobles@deloitte.com::fbcefa1a-afe9-41c1-8f2c-c18cf39f3320" providerId="AD" clId="Web-{E032695B-096E-4169-B3E1-8F8782E7EB49}" dt="2022-08-17T22:26:29.377" v="1" actId="20577"/>
        <pc:sldMkLst>
          <pc:docMk/>
          <pc:sldMk cId="870859583" sldId="453"/>
        </pc:sldMkLst>
        <pc:spChg chg="mod">
          <ac:chgData name="Robles, Daniel" userId="S::darobles@deloitte.com::fbcefa1a-afe9-41c1-8f2c-c18cf39f3320" providerId="AD" clId="Web-{E032695B-096E-4169-B3E1-8F8782E7EB49}" dt="2022-08-17T22:26:29.377" v="1" actId="20577"/>
          <ac:spMkLst>
            <pc:docMk/>
            <pc:sldMk cId="870859583" sldId="453"/>
            <ac:spMk id="2" creationId="{00000000-0000-0000-0000-000000000000}"/>
          </ac:spMkLst>
        </pc:spChg>
      </pc:sldChg>
    </pc:docChg>
  </pc:docChgLst>
  <pc:docChgLst>
    <pc:chgData name="Gupta, Maanik" userId="S::maagupta@deloitte.com::df80c2e9-1ba8-47de-bdfe-c5555afca713" providerId="AD" clId="Web-{067BBF90-87DC-4127-9FB8-1CBDCDAF44C1}"/>
    <pc:docChg chg="modSld">
      <pc:chgData name="Gupta, Maanik" userId="S::maagupta@deloitte.com::df80c2e9-1ba8-47de-bdfe-c5555afca713" providerId="AD" clId="Web-{067BBF90-87DC-4127-9FB8-1CBDCDAF44C1}" dt="2022-08-18T17:56:18.877" v="110" actId="20577"/>
      <pc:docMkLst>
        <pc:docMk/>
      </pc:docMkLst>
      <pc:sldChg chg="modSp">
        <pc:chgData name="Gupta, Maanik" userId="S::maagupta@deloitte.com::df80c2e9-1ba8-47de-bdfe-c5555afca713" providerId="AD" clId="Web-{067BBF90-87DC-4127-9FB8-1CBDCDAF44C1}" dt="2022-08-18T17:55:17.483" v="88" actId="20577"/>
        <pc:sldMkLst>
          <pc:docMk/>
          <pc:sldMk cId="2552575641" sldId="344"/>
        </pc:sldMkLst>
        <pc:spChg chg="mod">
          <ac:chgData name="Gupta, Maanik" userId="S::maagupta@deloitte.com::df80c2e9-1ba8-47de-bdfe-c5555afca713" providerId="AD" clId="Web-{067BBF90-87DC-4127-9FB8-1CBDCDAF44C1}" dt="2022-08-18T17:55:17.483" v="88" actId="20577"/>
          <ac:spMkLst>
            <pc:docMk/>
            <pc:sldMk cId="2552575641" sldId="344"/>
            <ac:spMk id="5" creationId="{00000000-0000-0000-0000-000000000000}"/>
          </ac:spMkLst>
        </pc:spChg>
      </pc:sldChg>
      <pc:sldChg chg="modSp">
        <pc:chgData name="Gupta, Maanik" userId="S::maagupta@deloitte.com::df80c2e9-1ba8-47de-bdfe-c5555afca713" providerId="AD" clId="Web-{067BBF90-87DC-4127-9FB8-1CBDCDAF44C1}" dt="2022-08-18T17:55:22.921" v="91" actId="20577"/>
        <pc:sldMkLst>
          <pc:docMk/>
          <pc:sldMk cId="1485223179" sldId="436"/>
        </pc:sldMkLst>
        <pc:spChg chg="mod">
          <ac:chgData name="Gupta, Maanik" userId="S::maagupta@deloitte.com::df80c2e9-1ba8-47de-bdfe-c5555afca713" providerId="AD" clId="Web-{067BBF90-87DC-4127-9FB8-1CBDCDAF44C1}" dt="2022-08-18T17:55:22.921" v="91" actId="20577"/>
          <ac:spMkLst>
            <pc:docMk/>
            <pc:sldMk cId="1485223179" sldId="436"/>
            <ac:spMk id="2" creationId="{1A53A8AD-38C0-4854-81B3-9B99B4E007ED}"/>
          </ac:spMkLst>
        </pc:spChg>
      </pc:sldChg>
      <pc:sldChg chg="modSp">
        <pc:chgData name="Gupta, Maanik" userId="S::maagupta@deloitte.com::df80c2e9-1ba8-47de-bdfe-c5555afca713" providerId="AD" clId="Web-{067BBF90-87DC-4127-9FB8-1CBDCDAF44C1}" dt="2022-08-18T17:56:13.251" v="106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067BBF90-87DC-4127-9FB8-1CBDCDAF44C1}" dt="2022-08-18T17:56:13.251" v="106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">
        <pc:chgData name="Gupta, Maanik" userId="S::maagupta@deloitte.com::df80c2e9-1ba8-47de-bdfe-c5555afca713" providerId="AD" clId="Web-{067BBF90-87DC-4127-9FB8-1CBDCDAF44C1}" dt="2022-08-18T17:56:01.001" v="100" actId="20577"/>
        <pc:sldMkLst>
          <pc:docMk/>
          <pc:sldMk cId="4243939787" sldId="463"/>
        </pc:sldMkLst>
        <pc:spChg chg="mod">
          <ac:chgData name="Gupta, Maanik" userId="S::maagupta@deloitte.com::df80c2e9-1ba8-47de-bdfe-c5555afca713" providerId="AD" clId="Web-{067BBF90-87DC-4127-9FB8-1CBDCDAF44C1}" dt="2022-08-18T17:56:01.001" v="100" actId="20577"/>
          <ac:spMkLst>
            <pc:docMk/>
            <pc:sldMk cId="4243939787" sldId="463"/>
            <ac:spMk id="2" creationId="{00000000-0000-0000-0000-000000000000}"/>
          </ac:spMkLst>
        </pc:spChg>
      </pc:sldChg>
      <pc:sldChg chg="modSp">
        <pc:chgData name="Gupta, Maanik" userId="S::maagupta@deloitte.com::df80c2e9-1ba8-47de-bdfe-c5555afca713" providerId="AD" clId="Web-{067BBF90-87DC-4127-9FB8-1CBDCDAF44C1}" dt="2022-08-18T17:55:43.688" v="96" actId="20577"/>
        <pc:sldMkLst>
          <pc:docMk/>
          <pc:sldMk cId="3031157915" sldId="464"/>
        </pc:sldMkLst>
        <pc:spChg chg="mod">
          <ac:chgData name="Gupta, Maanik" userId="S::maagupta@deloitte.com::df80c2e9-1ba8-47de-bdfe-c5555afca713" providerId="AD" clId="Web-{067BBF90-87DC-4127-9FB8-1CBDCDAF44C1}" dt="2022-08-18T17:55:43.688" v="96" actId="20577"/>
          <ac:spMkLst>
            <pc:docMk/>
            <pc:sldMk cId="3031157915" sldId="464"/>
            <ac:spMk id="2" creationId="{00000000-0000-0000-0000-000000000000}"/>
          </ac:spMkLst>
        </pc:spChg>
        <pc:spChg chg="mod">
          <ac:chgData name="Gupta, Maanik" userId="S::maagupta@deloitte.com::df80c2e9-1ba8-47de-bdfe-c5555afca713" providerId="AD" clId="Web-{067BBF90-87DC-4127-9FB8-1CBDCDAF44C1}" dt="2022-08-18T17:53:13.213" v="21" actId="20577"/>
          <ac:spMkLst>
            <pc:docMk/>
            <pc:sldMk cId="3031157915" sldId="464"/>
            <ac:spMk id="5" creationId="{C2B756BC-73D1-43E2-6FB6-EE9424529B9B}"/>
          </ac:spMkLst>
        </pc:spChg>
      </pc:sldChg>
      <pc:sldChg chg="modSp">
        <pc:chgData name="Gupta, Maanik" userId="S::maagupta@deloitte.com::df80c2e9-1ba8-47de-bdfe-c5555afca713" providerId="AD" clId="Web-{067BBF90-87DC-4127-9FB8-1CBDCDAF44C1}" dt="2022-08-18T17:56:18.877" v="110" actId="20577"/>
        <pc:sldMkLst>
          <pc:docMk/>
          <pc:sldMk cId="47003559" sldId="672"/>
        </pc:sldMkLst>
        <pc:spChg chg="mod">
          <ac:chgData name="Gupta, Maanik" userId="S::maagupta@deloitte.com::df80c2e9-1ba8-47de-bdfe-c5555afca713" providerId="AD" clId="Web-{067BBF90-87DC-4127-9FB8-1CBDCDAF44C1}" dt="2022-08-18T17:56:18.877" v="110" actId="20577"/>
          <ac:spMkLst>
            <pc:docMk/>
            <pc:sldMk cId="47003559" sldId="672"/>
            <ac:spMk id="3" creationId="{38DD1CE0-EEB2-A648-B763-7F40D6671914}"/>
          </ac:spMkLst>
        </pc:spChg>
      </pc:sldChg>
    </pc:docChg>
  </pc:docChgLst>
  <pc:docChgLst>
    <pc:chgData name="Sandlin, Maya" userId="S::msandlin@deloitte.com::329295a2-1b91-4dc4-8178-61636d7de7a9" providerId="AD" clId="Web-{9DA7315B-2DCD-44B6-802F-A914F1E9D17E}"/>
    <pc:docChg chg="addSld delSld modSld sldOrd">
      <pc:chgData name="Sandlin, Maya" userId="S::msandlin@deloitte.com::329295a2-1b91-4dc4-8178-61636d7de7a9" providerId="AD" clId="Web-{9DA7315B-2DCD-44B6-802F-A914F1E9D17E}" dt="2022-08-18T14:29:07.189" v="1375"/>
      <pc:docMkLst>
        <pc:docMk/>
      </pc:docMkLst>
      <pc:sldChg chg="modSp mod ord modClrScheme chgLayout">
        <pc:chgData name="Sandlin, Maya" userId="S::msandlin@deloitte.com::329295a2-1b91-4dc4-8178-61636d7de7a9" providerId="AD" clId="Web-{9DA7315B-2DCD-44B6-802F-A914F1E9D17E}" dt="2022-08-18T14:26:26.029" v="1298" actId="1076"/>
        <pc:sldMkLst>
          <pc:docMk/>
          <pc:sldMk cId="3554107295" sldId="269"/>
        </pc:sldMkLst>
        <pc:spChg chg="mod">
          <ac:chgData name="Sandlin, Maya" userId="S::msandlin@deloitte.com::329295a2-1b91-4dc4-8178-61636d7de7a9" providerId="AD" clId="Web-{9DA7315B-2DCD-44B6-802F-A914F1E9D17E}" dt="2022-08-18T14:26:26.029" v="1298" actId="1076"/>
          <ac:spMkLst>
            <pc:docMk/>
            <pc:sldMk cId="3554107295" sldId="269"/>
            <ac:spMk id="2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8T14:26:12.935" v="1296" actId="1076"/>
          <ac:spMkLst>
            <pc:docMk/>
            <pc:sldMk cId="3554107295" sldId="269"/>
            <ac:spMk id="9" creationId="{00000000-0000-0000-0000-000000000000}"/>
          </ac:spMkLst>
        </pc:spChg>
      </pc:sldChg>
      <pc:sldChg chg="modSp ord">
        <pc:chgData name="Sandlin, Maya" userId="S::msandlin@deloitte.com::329295a2-1b91-4dc4-8178-61636d7de7a9" providerId="AD" clId="Web-{9DA7315B-2DCD-44B6-802F-A914F1E9D17E}" dt="2022-08-18T14:23:35.057" v="1180"/>
        <pc:sldMkLst>
          <pc:docMk/>
          <pc:sldMk cId="4255256458" sldId="270"/>
        </pc:sldMkLst>
        <pc:spChg chg="mod">
          <ac:chgData name="Sandlin, Maya" userId="S::msandlin@deloitte.com::329295a2-1b91-4dc4-8178-61636d7de7a9" providerId="AD" clId="Web-{9DA7315B-2DCD-44B6-802F-A914F1E9D17E}" dt="2022-08-17T21:09:02.601" v="46" actId="20577"/>
          <ac:spMkLst>
            <pc:docMk/>
            <pc:sldMk cId="4255256458" sldId="270"/>
            <ac:spMk id="9" creationId="{00000000-0000-0000-0000-000000000000}"/>
          </ac:spMkLst>
        </pc:spChg>
      </pc:sldChg>
      <pc:sldChg chg="addSp modSp del mod modClrScheme chgLayout">
        <pc:chgData name="Sandlin, Maya" userId="S::msandlin@deloitte.com::329295a2-1b91-4dc4-8178-61636d7de7a9" providerId="AD" clId="Web-{9DA7315B-2DCD-44B6-802F-A914F1E9D17E}" dt="2022-08-18T14:24:26.167" v="1211"/>
        <pc:sldMkLst>
          <pc:docMk/>
          <pc:sldMk cId="3205254839" sldId="271"/>
        </pc:sldMkLst>
        <pc:spChg chg="mod">
          <ac:chgData name="Sandlin, Maya" userId="S::msandlin@deloitte.com::329295a2-1b91-4dc4-8178-61636d7de7a9" providerId="AD" clId="Web-{9DA7315B-2DCD-44B6-802F-A914F1E9D17E}" dt="2022-08-18T14:24:04.135" v="1199" actId="1076"/>
          <ac:spMkLst>
            <pc:docMk/>
            <pc:sldMk cId="3205254839" sldId="271"/>
            <ac:spMk id="2" creationId="{00000000-0000-0000-0000-000000000000}"/>
          </ac:spMkLst>
        </pc:spChg>
        <pc:spChg chg="mod ord">
          <ac:chgData name="Sandlin, Maya" userId="S::msandlin@deloitte.com::329295a2-1b91-4dc4-8178-61636d7de7a9" providerId="AD" clId="Web-{9DA7315B-2DCD-44B6-802F-A914F1E9D17E}" dt="2022-08-18T14:23:52.073" v="1196"/>
          <ac:spMkLst>
            <pc:docMk/>
            <pc:sldMk cId="3205254839" sldId="271"/>
            <ac:spMk id="9" creationId="{00000000-0000-0000-0000-000000000000}"/>
          </ac:spMkLst>
        </pc:spChg>
        <pc:spChg chg="add mod">
          <ac:chgData name="Sandlin, Maya" userId="S::msandlin@deloitte.com::329295a2-1b91-4dc4-8178-61636d7de7a9" providerId="AD" clId="Web-{9DA7315B-2DCD-44B6-802F-A914F1E9D17E}" dt="2022-08-18T14:24:17.745" v="1210" actId="20577"/>
          <ac:spMkLst>
            <pc:docMk/>
            <pc:sldMk cId="3205254839" sldId="271"/>
            <ac:spMk id="14" creationId="{91649FDD-1269-D2B8-1786-CD7C859CE283}"/>
          </ac:spMkLst>
        </pc:spChg>
        <pc:spChg chg="add mod">
          <ac:chgData name="Sandlin, Maya" userId="S::msandlin@deloitte.com::329295a2-1b91-4dc4-8178-61636d7de7a9" providerId="AD" clId="Web-{9DA7315B-2DCD-44B6-802F-A914F1E9D17E}" dt="2022-08-18T14:23:52.073" v="1196"/>
          <ac:spMkLst>
            <pc:docMk/>
            <pc:sldMk cId="3205254839" sldId="271"/>
            <ac:spMk id="16" creationId="{FDC9587F-945D-E066-979F-C2F70864FB42}"/>
          </ac:spMkLst>
        </pc:spChg>
        <pc:spChg chg="add mod">
          <ac:chgData name="Sandlin, Maya" userId="S::msandlin@deloitte.com::329295a2-1b91-4dc4-8178-61636d7de7a9" providerId="AD" clId="Web-{9DA7315B-2DCD-44B6-802F-A914F1E9D17E}" dt="2022-08-18T14:23:52.073" v="1196"/>
          <ac:spMkLst>
            <pc:docMk/>
            <pc:sldMk cId="3205254839" sldId="271"/>
            <ac:spMk id="18" creationId="{B4AD4BA2-B606-AF0B-6936-ECB1B485B7D6}"/>
          </ac:spMkLst>
        </pc:spChg>
      </pc:sldChg>
      <pc:sldChg chg="modSp">
        <pc:chgData name="Sandlin, Maya" userId="S::msandlin@deloitte.com::329295a2-1b91-4dc4-8178-61636d7de7a9" providerId="AD" clId="Web-{9DA7315B-2DCD-44B6-802F-A914F1E9D17E}" dt="2022-08-18T13:52:38.749" v="1168" actId="20577"/>
        <pc:sldMkLst>
          <pc:docMk/>
          <pc:sldMk cId="2552575641" sldId="344"/>
        </pc:sldMkLst>
        <pc:spChg chg="mod">
          <ac:chgData name="Sandlin, Maya" userId="S::msandlin@deloitte.com::329295a2-1b91-4dc4-8178-61636d7de7a9" providerId="AD" clId="Web-{9DA7315B-2DCD-44B6-802F-A914F1E9D17E}" dt="2022-08-18T13:52:38.749" v="1168" actId="20577"/>
          <ac:spMkLst>
            <pc:docMk/>
            <pc:sldMk cId="2552575641" sldId="344"/>
            <ac:spMk id="5" creationId="{00000000-0000-0000-0000-000000000000}"/>
          </ac:spMkLst>
        </pc:spChg>
      </pc:sldChg>
      <pc:sldChg chg="addSp delSp modSp mod modClrScheme chgLayout">
        <pc:chgData name="Sandlin, Maya" userId="S::msandlin@deloitte.com::329295a2-1b91-4dc4-8178-61636d7de7a9" providerId="AD" clId="Web-{9DA7315B-2DCD-44B6-802F-A914F1E9D17E}" dt="2022-08-18T13:38:00.151" v="1165" actId="14100"/>
        <pc:sldMkLst>
          <pc:docMk/>
          <pc:sldMk cId="4231841769" sldId="347"/>
        </pc:sldMkLst>
        <pc:spChg chg="mod">
          <ac:chgData name="Sandlin, Maya" userId="S::msandlin@deloitte.com::329295a2-1b91-4dc4-8178-61636d7de7a9" providerId="AD" clId="Web-{9DA7315B-2DCD-44B6-802F-A914F1E9D17E}" dt="2022-08-17T21:55:51.282" v="1084"/>
          <ac:spMkLst>
            <pc:docMk/>
            <pc:sldMk cId="4231841769" sldId="347"/>
            <ac:spMk id="2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7T21:55:51.282" v="1084"/>
          <ac:spMkLst>
            <pc:docMk/>
            <pc:sldMk cId="4231841769" sldId="347"/>
            <ac:spMk id="3" creationId="{00000000-0000-0000-0000-000000000000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5:51.282" v="1084"/>
          <ac:spMkLst>
            <pc:docMk/>
            <pc:sldMk cId="4231841769" sldId="347"/>
            <ac:spMk id="5" creationId="{2F191C8E-0E23-9F07-C0F1-795D4CBB5FCC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8T13:37:32.135" v="1163"/>
          <ac:spMkLst>
            <pc:docMk/>
            <pc:sldMk cId="4231841769" sldId="347"/>
            <ac:spMk id="7" creationId="{8B4E18E6-865D-280A-794B-C1CB7C0876C2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5:40.110" v="1083"/>
          <ac:spMkLst>
            <pc:docMk/>
            <pc:sldMk cId="4231841769" sldId="347"/>
            <ac:spMk id="8" creationId="{FF6237C7-B42A-43D3-11FD-84463F22D495}"/>
          </ac:spMkLst>
        </pc:spChg>
        <pc:spChg chg="del mod">
          <ac:chgData name="Sandlin, Maya" userId="S::msandlin@deloitte.com::329295a2-1b91-4dc4-8178-61636d7de7a9" providerId="AD" clId="Web-{9DA7315B-2DCD-44B6-802F-A914F1E9D17E}" dt="2022-08-17T21:52:21.635" v="665"/>
          <ac:spMkLst>
            <pc:docMk/>
            <pc:sldMk cId="4231841769" sldId="347"/>
            <ac:spMk id="25" creationId="{00000000-0000-0000-0000-000000000000}"/>
          </ac:spMkLst>
        </pc:spChg>
        <pc:picChg chg="add mod ord">
          <ac:chgData name="Sandlin, Maya" userId="S::msandlin@deloitte.com::329295a2-1b91-4dc4-8178-61636d7de7a9" providerId="AD" clId="Web-{9DA7315B-2DCD-44B6-802F-A914F1E9D17E}" dt="2022-08-18T13:38:00.151" v="1165" actId="14100"/>
          <ac:picMkLst>
            <pc:docMk/>
            <pc:sldMk cId="4231841769" sldId="347"/>
            <ac:picMk id="5" creationId="{5E5A63EF-CE2B-2134-9150-D0D612282979}"/>
          </ac:picMkLst>
        </pc:picChg>
        <pc:picChg chg="del">
          <ac:chgData name="Sandlin, Maya" userId="S::msandlin@deloitte.com::329295a2-1b91-4dc4-8178-61636d7de7a9" providerId="AD" clId="Web-{9DA7315B-2DCD-44B6-802F-A914F1E9D17E}" dt="2022-08-17T21:54:43.390" v="1082"/>
          <ac:picMkLst>
            <pc:docMk/>
            <pc:sldMk cId="4231841769" sldId="347"/>
            <ac:picMk id="7" creationId="{00000000-0000-0000-0000-000000000000}"/>
          </ac:picMkLst>
        </pc:picChg>
        <pc:picChg chg="add del mod ord">
          <ac:chgData name="Sandlin, Maya" userId="S::msandlin@deloitte.com::329295a2-1b91-4dc4-8178-61636d7de7a9" providerId="AD" clId="Web-{9DA7315B-2DCD-44B6-802F-A914F1E9D17E}" dt="2022-08-18T13:37:13.229" v="1158"/>
          <ac:picMkLst>
            <pc:docMk/>
            <pc:sldMk cId="4231841769" sldId="347"/>
            <ac:picMk id="9" creationId="{433CB520-F435-7DC7-5B37-18947A42F5ED}"/>
          </ac:picMkLst>
        </pc:picChg>
      </pc:sldChg>
      <pc:sldChg chg="addSp delSp modSp mod modClrScheme chgLayout">
        <pc:chgData name="Sandlin, Maya" userId="S::msandlin@deloitte.com::329295a2-1b91-4dc4-8178-61636d7de7a9" providerId="AD" clId="Web-{9DA7315B-2DCD-44B6-802F-A914F1E9D17E}" dt="2022-08-18T14:11:25.103" v="1179" actId="20577"/>
        <pc:sldMkLst>
          <pc:docMk/>
          <pc:sldMk cId="2718855235" sldId="351"/>
        </pc:sldMkLst>
        <pc:spChg chg="mod ord">
          <ac:chgData name="Sandlin, Maya" userId="S::msandlin@deloitte.com::329295a2-1b91-4dc4-8178-61636d7de7a9" providerId="AD" clId="Web-{9DA7315B-2DCD-44B6-802F-A914F1E9D17E}" dt="2022-08-17T21:59:08.835" v="1146"/>
          <ac:spMkLst>
            <pc:docMk/>
            <pc:sldMk cId="2718855235" sldId="351"/>
            <ac:spMk id="2" creationId="{00000000-0000-0000-0000-000000000000}"/>
          </ac:spMkLst>
        </pc:spChg>
        <pc:spChg chg="del mod">
          <ac:chgData name="Sandlin, Maya" userId="S::msandlin@deloitte.com::329295a2-1b91-4dc4-8178-61636d7de7a9" providerId="AD" clId="Web-{9DA7315B-2DCD-44B6-802F-A914F1E9D17E}" dt="2022-08-17T21:56:32.065" v="1086"/>
          <ac:spMkLst>
            <pc:docMk/>
            <pc:sldMk cId="2718855235" sldId="351"/>
            <ac:spMk id="3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8T14:11:25.103" v="1179" actId="20577"/>
          <ac:spMkLst>
            <pc:docMk/>
            <pc:sldMk cId="2718855235" sldId="351"/>
            <ac:spMk id="5" creationId="{00000000-0000-0000-0000-000000000000}"/>
          </ac:spMkLst>
        </pc:spChg>
        <pc:spChg chg="del">
          <ac:chgData name="Sandlin, Maya" userId="S::msandlin@deloitte.com::329295a2-1b91-4dc4-8178-61636d7de7a9" providerId="AD" clId="Web-{9DA7315B-2DCD-44B6-802F-A914F1E9D17E}" dt="2022-08-17T21:48:08.706" v="526"/>
          <ac:spMkLst>
            <pc:docMk/>
            <pc:sldMk cId="2718855235" sldId="351"/>
            <ac:spMk id="6" creationId="{00000000-0000-0000-0000-000000000000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48:33.332" v="530"/>
          <ac:spMkLst>
            <pc:docMk/>
            <pc:sldMk cId="2718855235" sldId="351"/>
            <ac:spMk id="8" creationId="{B9BCFC5D-AE67-EA6A-6FF1-7F3907D890AB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6:55.190" v="1119"/>
          <ac:spMkLst>
            <pc:docMk/>
            <pc:sldMk cId="2718855235" sldId="351"/>
            <ac:spMk id="9" creationId="{C194AA67-323F-9DF8-FBF2-FC4BEA52EEF5}"/>
          </ac:spMkLst>
        </pc:spChg>
        <pc:spChg chg="add mod">
          <ac:chgData name="Sandlin, Maya" userId="S::msandlin@deloitte.com::329295a2-1b91-4dc4-8178-61636d7de7a9" providerId="AD" clId="Web-{9DA7315B-2DCD-44B6-802F-A914F1E9D17E}" dt="2022-08-17T21:59:08.835" v="1146"/>
          <ac:spMkLst>
            <pc:docMk/>
            <pc:sldMk cId="2718855235" sldId="351"/>
            <ac:spMk id="10" creationId="{CA2EF556-8F57-2919-A6BA-C9E46C759FB0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7:08.378" v="1124"/>
          <ac:spMkLst>
            <pc:docMk/>
            <pc:sldMk cId="2718855235" sldId="351"/>
            <ac:spMk id="11" creationId="{FB0C8191-3D97-B2E5-44C8-F58C4B9543C7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7:04.581" v="1121"/>
          <ac:spMkLst>
            <pc:docMk/>
            <pc:sldMk cId="2718855235" sldId="351"/>
            <ac:spMk id="16" creationId="{1F09E956-B31A-2383-1601-B5EE69E3A21D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7:08.378" v="1123"/>
          <ac:spMkLst>
            <pc:docMk/>
            <pc:sldMk cId="2718855235" sldId="351"/>
            <ac:spMk id="18" creationId="{0E7F2479-FEDD-88F8-C8D0-5A54DB0FA305}"/>
          </ac:spMkLst>
        </pc:spChg>
        <pc:picChg chg="add del mod ord modCrop">
          <ac:chgData name="Sandlin, Maya" userId="S::msandlin@deloitte.com::329295a2-1b91-4dc4-8178-61636d7de7a9" providerId="AD" clId="Web-{9DA7315B-2DCD-44B6-802F-A914F1E9D17E}" dt="2022-08-18T14:08:57.255" v="1170"/>
          <ac:picMkLst>
            <pc:docMk/>
            <pc:sldMk cId="2718855235" sldId="351"/>
            <ac:picMk id="4" creationId="{87DF634D-2F61-BCF1-7D95-510B5A8258D2}"/>
          </ac:picMkLst>
        </pc:picChg>
        <pc:picChg chg="add mod">
          <ac:chgData name="Sandlin, Maya" userId="S::msandlin@deloitte.com::329295a2-1b91-4dc4-8178-61636d7de7a9" providerId="AD" clId="Web-{9DA7315B-2DCD-44B6-802F-A914F1E9D17E}" dt="2022-08-18T14:09:16.350" v="1177" actId="1076"/>
          <ac:picMkLst>
            <pc:docMk/>
            <pc:sldMk cId="2718855235" sldId="351"/>
            <ac:picMk id="6" creationId="{B4EC9D13-E7E3-2D5A-5D64-9AB848524B0E}"/>
          </ac:picMkLst>
        </pc:picChg>
      </pc:sldChg>
      <pc:sldChg chg="addSp delSp modSp ord">
        <pc:chgData name="Sandlin, Maya" userId="S::msandlin@deloitte.com::329295a2-1b91-4dc4-8178-61636d7de7a9" providerId="AD" clId="Web-{9DA7315B-2DCD-44B6-802F-A914F1E9D17E}" dt="2022-08-18T14:29:07.189" v="1375"/>
        <pc:sldMkLst>
          <pc:docMk/>
          <pc:sldMk cId="1714877050" sldId="367"/>
        </pc:sldMkLst>
        <pc:spChg chg="mod">
          <ac:chgData name="Sandlin, Maya" userId="S::msandlin@deloitte.com::329295a2-1b91-4dc4-8178-61636d7de7a9" providerId="AD" clId="Web-{9DA7315B-2DCD-44B6-802F-A914F1E9D17E}" dt="2022-08-18T14:28:58.642" v="1374" actId="1076"/>
          <ac:spMkLst>
            <pc:docMk/>
            <pc:sldMk cId="1714877050" sldId="367"/>
            <ac:spMk id="3" creationId="{00000000-0000-0000-0000-000000000000}"/>
          </ac:spMkLst>
        </pc:spChg>
        <pc:spChg chg="del">
          <ac:chgData name="Sandlin, Maya" userId="S::msandlin@deloitte.com::329295a2-1b91-4dc4-8178-61636d7de7a9" providerId="AD" clId="Web-{9DA7315B-2DCD-44B6-802F-A914F1E9D17E}" dt="2022-08-18T14:29:07.189" v="1375"/>
          <ac:spMkLst>
            <pc:docMk/>
            <pc:sldMk cId="1714877050" sldId="367"/>
            <ac:spMk id="4" creationId="{00000000-0000-0000-0000-000000000000}"/>
          </ac:spMkLst>
        </pc:spChg>
        <pc:spChg chg="add mod">
          <ac:chgData name="Sandlin, Maya" userId="S::msandlin@deloitte.com::329295a2-1b91-4dc4-8178-61636d7de7a9" providerId="AD" clId="Web-{9DA7315B-2DCD-44B6-802F-A914F1E9D17E}" dt="2022-08-18T14:29:07.189" v="1375"/>
          <ac:spMkLst>
            <pc:docMk/>
            <pc:sldMk cId="1714877050" sldId="367"/>
            <ac:spMk id="5" creationId="{D013329E-A792-791E-E132-37C870B8FDFD}"/>
          </ac:spMkLst>
        </pc:spChg>
        <pc:spChg chg="mod">
          <ac:chgData name="Sandlin, Maya" userId="S::msandlin@deloitte.com::329295a2-1b91-4dc4-8178-61636d7de7a9" providerId="AD" clId="Web-{9DA7315B-2DCD-44B6-802F-A914F1E9D17E}" dt="2022-08-18T14:27:58.266" v="1318" actId="20577"/>
          <ac:spMkLst>
            <pc:docMk/>
            <pc:sldMk cId="1714877050" sldId="367"/>
            <ac:spMk id="24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8T14:28:45.095" v="1370" actId="20577"/>
          <ac:spMkLst>
            <pc:docMk/>
            <pc:sldMk cId="1714877050" sldId="367"/>
            <ac:spMk id="26" creationId="{00000000-0000-0000-0000-000000000000}"/>
          </ac:spMkLst>
        </pc:spChg>
        <pc:spChg chg="del mod">
          <ac:chgData name="Sandlin, Maya" userId="S::msandlin@deloitte.com::329295a2-1b91-4dc4-8178-61636d7de7a9" providerId="AD" clId="Web-{9DA7315B-2DCD-44B6-802F-A914F1E9D17E}" dt="2022-08-18T14:28:30.235" v="1340"/>
          <ac:spMkLst>
            <pc:docMk/>
            <pc:sldMk cId="1714877050" sldId="367"/>
            <ac:spMk id="27" creationId="{00000000-0000-0000-0000-000000000000}"/>
          </ac:spMkLst>
        </pc:spChg>
        <pc:spChg chg="del">
          <ac:chgData name="Sandlin, Maya" userId="S::msandlin@deloitte.com::329295a2-1b91-4dc4-8178-61636d7de7a9" providerId="AD" clId="Web-{9DA7315B-2DCD-44B6-802F-A914F1E9D17E}" dt="2022-08-18T14:28:23.782" v="1337"/>
          <ac:spMkLst>
            <pc:docMk/>
            <pc:sldMk cId="1714877050" sldId="367"/>
            <ac:spMk id="28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8T14:28:19.766" v="1336" actId="1076"/>
          <ac:spMkLst>
            <pc:docMk/>
            <pc:sldMk cId="1714877050" sldId="367"/>
            <ac:spMk id="29" creationId="{00000000-0000-0000-0000-000000000000}"/>
          </ac:spMkLst>
        </pc:spChg>
        <pc:spChg chg="mod">
          <ac:chgData name="Sandlin, Maya" userId="S::msandlin@deloitte.com::329295a2-1b91-4dc4-8178-61636d7de7a9" providerId="AD" clId="Web-{9DA7315B-2DCD-44B6-802F-A914F1E9D17E}" dt="2022-08-18T14:28:37.704" v="1359" actId="20577"/>
          <ac:spMkLst>
            <pc:docMk/>
            <pc:sldMk cId="1714877050" sldId="367"/>
            <ac:spMk id="30" creationId="{00000000-0000-0000-0000-000000000000}"/>
          </ac:spMkLst>
        </pc:spChg>
      </pc:sldChg>
      <pc:sldChg chg="addSp delSp">
        <pc:chgData name="Sandlin, Maya" userId="S::msandlin@deloitte.com::329295a2-1b91-4dc4-8178-61636d7de7a9" providerId="AD" clId="Web-{9DA7315B-2DCD-44B6-802F-A914F1E9D17E}" dt="2022-08-17T20:04:57.365" v="1"/>
        <pc:sldMkLst>
          <pc:docMk/>
          <pc:sldMk cId="1825728422" sldId="450"/>
        </pc:sldMkLst>
        <pc:spChg chg="add del">
          <ac:chgData name="Sandlin, Maya" userId="S::msandlin@deloitte.com::329295a2-1b91-4dc4-8178-61636d7de7a9" providerId="AD" clId="Web-{9DA7315B-2DCD-44B6-802F-A914F1E9D17E}" dt="2022-08-17T20:04:57.365" v="1"/>
          <ac:spMkLst>
            <pc:docMk/>
            <pc:sldMk cId="1825728422" sldId="450"/>
            <ac:spMk id="3" creationId="{D78388AC-2366-A12D-0AA0-5F3D1262C160}"/>
          </ac:spMkLst>
        </pc:spChg>
      </pc:sldChg>
      <pc:sldChg chg="addSp delSp modSp add del ord replId">
        <pc:chgData name="Sandlin, Maya" userId="S::msandlin@deloitte.com::329295a2-1b91-4dc4-8178-61636d7de7a9" providerId="AD" clId="Web-{9DA7315B-2DCD-44B6-802F-A914F1E9D17E}" dt="2022-08-17T21:58:56.053" v="1142"/>
        <pc:sldMkLst>
          <pc:docMk/>
          <pc:sldMk cId="514121694" sldId="453"/>
        </pc:sldMkLst>
        <pc:spChg chg="mod">
          <ac:chgData name="Sandlin, Maya" userId="S::msandlin@deloitte.com::329295a2-1b91-4dc4-8178-61636d7de7a9" providerId="AD" clId="Web-{9DA7315B-2DCD-44B6-802F-A914F1E9D17E}" dt="2022-08-17T21:58:50.647" v="1141" actId="14100"/>
          <ac:spMkLst>
            <pc:docMk/>
            <pc:sldMk cId="514121694" sldId="453"/>
            <ac:spMk id="3" creationId="{00000000-0000-0000-0000-000000000000}"/>
          </ac:spMkLst>
        </pc:spChg>
        <pc:spChg chg="add del mod">
          <ac:chgData name="Sandlin, Maya" userId="S::msandlin@deloitte.com::329295a2-1b91-4dc4-8178-61636d7de7a9" providerId="AD" clId="Web-{9DA7315B-2DCD-44B6-802F-A914F1E9D17E}" dt="2022-08-17T21:58:22.802" v="1137"/>
          <ac:spMkLst>
            <pc:docMk/>
            <pc:sldMk cId="514121694" sldId="453"/>
            <ac:spMk id="7" creationId="{86E2CC05-E963-D1E0-5177-5B46545CFEF7}"/>
          </ac:spMkLst>
        </pc:spChg>
        <pc:picChg chg="add mod">
          <ac:chgData name="Sandlin, Maya" userId="S::msandlin@deloitte.com::329295a2-1b91-4dc4-8178-61636d7de7a9" providerId="AD" clId="Web-{9DA7315B-2DCD-44B6-802F-A914F1E9D17E}" dt="2022-08-17T21:58:26.099" v="1138" actId="1076"/>
          <ac:picMkLst>
            <pc:docMk/>
            <pc:sldMk cId="514121694" sldId="453"/>
            <ac:picMk id="5" creationId="{76FF7C6B-C2EE-5365-489D-268D46B2AE4B}"/>
          </ac:picMkLst>
        </pc:picChg>
        <pc:picChg chg="del">
          <ac:chgData name="Sandlin, Maya" userId="S::msandlin@deloitte.com::329295a2-1b91-4dc4-8178-61636d7de7a9" providerId="AD" clId="Web-{9DA7315B-2DCD-44B6-802F-A914F1E9D17E}" dt="2022-08-17T21:58:17.380" v="1136"/>
          <ac:picMkLst>
            <pc:docMk/>
            <pc:sldMk cId="514121694" sldId="453"/>
            <ac:picMk id="9" creationId="{433CB520-F435-7DC7-5B37-18947A42F5ED}"/>
          </ac:picMkLst>
        </pc:picChg>
      </pc:sldChg>
    </pc:docChg>
  </pc:docChgLst>
  <pc:docChgLst>
    <pc:chgData name="Gupta, Maanik" userId="S::maagupta@deloitte.com::df80c2e9-1ba8-47de-bdfe-c5555afca713" providerId="AD" clId="Web-{61D5B7C5-3CF2-4B38-B29B-DD2C99B6CC06}"/>
    <pc:docChg chg="modSld">
      <pc:chgData name="Gupta, Maanik" userId="S::maagupta@deloitte.com::df80c2e9-1ba8-47de-bdfe-c5555afca713" providerId="AD" clId="Web-{61D5B7C5-3CF2-4B38-B29B-DD2C99B6CC06}" dt="2022-08-18T16:15:06.157" v="96" actId="20577"/>
      <pc:docMkLst>
        <pc:docMk/>
      </pc:docMkLst>
      <pc:sldChg chg="modSp">
        <pc:chgData name="Gupta, Maanik" userId="S::maagupta@deloitte.com::df80c2e9-1ba8-47de-bdfe-c5555afca713" providerId="AD" clId="Web-{61D5B7C5-3CF2-4B38-B29B-DD2C99B6CC06}" dt="2022-08-18T16:15:06.157" v="96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61D5B7C5-3CF2-4B38-B29B-DD2C99B6CC06}" dt="2022-08-18T16:15:06.157" v="96" actId="20577"/>
          <ac:spMkLst>
            <pc:docMk/>
            <pc:sldMk cId="763584098" sldId="457"/>
            <ac:spMk id="2" creationId="{B8035859-814E-F5F7-F9EF-AB55CD884CEE}"/>
          </ac:spMkLst>
        </pc:spChg>
      </pc:sldChg>
    </pc:docChg>
  </pc:docChgLst>
  <pc:docChgLst>
    <pc:chgData name="Gupta, Maanik" userId="S::maagupta@deloitte.com::df80c2e9-1ba8-47de-bdfe-c5555afca713" providerId="AD" clId="Web-{16C694C1-8520-4430-A697-B6CCCD2E010E}"/>
    <pc:docChg chg="modSld">
      <pc:chgData name="Gupta, Maanik" userId="S::maagupta@deloitte.com::df80c2e9-1ba8-47de-bdfe-c5555afca713" providerId="AD" clId="Web-{16C694C1-8520-4430-A697-B6CCCD2E010E}" dt="2022-08-18T19:15:50.213" v="239" actId="20577"/>
      <pc:docMkLst>
        <pc:docMk/>
      </pc:docMkLst>
      <pc:sldChg chg="modSp modNotes">
        <pc:chgData name="Gupta, Maanik" userId="S::maagupta@deloitte.com::df80c2e9-1ba8-47de-bdfe-c5555afca713" providerId="AD" clId="Web-{16C694C1-8520-4430-A697-B6CCCD2E010E}" dt="2022-08-18T19:09:26.908" v="108" actId="20577"/>
        <pc:sldMkLst>
          <pc:docMk/>
          <pc:sldMk cId="763584098" sldId="457"/>
        </pc:sldMkLst>
        <pc:spChg chg="mod">
          <ac:chgData name="Gupta, Maanik" userId="S::maagupta@deloitte.com::df80c2e9-1ba8-47de-bdfe-c5555afca713" providerId="AD" clId="Web-{16C694C1-8520-4430-A697-B6CCCD2E010E}" dt="2022-08-18T19:09:26.908" v="108" actId="20577"/>
          <ac:spMkLst>
            <pc:docMk/>
            <pc:sldMk cId="763584098" sldId="457"/>
            <ac:spMk id="2" creationId="{B8035859-814E-F5F7-F9EF-AB55CD884CEE}"/>
          </ac:spMkLst>
        </pc:spChg>
      </pc:sldChg>
      <pc:sldChg chg="modSp">
        <pc:chgData name="Gupta, Maanik" userId="S::maagupta@deloitte.com::df80c2e9-1ba8-47de-bdfe-c5555afca713" providerId="AD" clId="Web-{16C694C1-8520-4430-A697-B6CCCD2E010E}" dt="2022-08-18T19:15:50.213" v="239" actId="20577"/>
        <pc:sldMkLst>
          <pc:docMk/>
          <pc:sldMk cId="2745247743" sldId="462"/>
        </pc:sldMkLst>
        <pc:spChg chg="mod">
          <ac:chgData name="Gupta, Maanik" userId="S::maagupta@deloitte.com::df80c2e9-1ba8-47de-bdfe-c5555afca713" providerId="AD" clId="Web-{16C694C1-8520-4430-A697-B6CCCD2E010E}" dt="2022-08-18T19:15:50.213" v="239" actId="20577"/>
          <ac:spMkLst>
            <pc:docMk/>
            <pc:sldMk cId="2745247743" sldId="462"/>
            <ac:spMk id="6775" creationId="{558C9E33-55A2-7333-CA30-E8A181F742D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756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239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40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0725"/>
            <a:ext cx="47974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5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2888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779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77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9376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6239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7D6D49-40DB-4B5E-91C7-B12BED91DDA4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B56F000-79C0-4179-8524-D9ACDA40DE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3CED6E8-0988-4503-8A9C-7978FFC381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C687D43-60C7-43AB-8911-DA778A3C21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7E6A62ED-7286-474D-94F4-70E263F12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4C66DE6-1937-4416-B991-2E18A61B26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B34AD3A-4C9A-421F-B1CB-0CC3CE3E88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EAFDCD-F937-4438-BAD2-7E961511BC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518B2C5-6FC4-4210-8C90-05C2859C1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D8243B4B-C757-43C3-AF9F-089552AEBB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3DAE9BC0-0457-4CD3-A551-64C8347B41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006103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692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71475" y="1665288"/>
            <a:ext cx="2097406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727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665288"/>
            <a:ext cx="5937248" cy="4716461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C42E5B2-CB73-494C-AEDA-92DED9F00538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12C1795B-758F-49A8-B043-04FA792E1D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D9AA27D9-1A62-421F-88B1-0CE6ECF629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73F630E6-1CC2-4F70-9E09-307AE5304A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AC6F5C8-3A68-44F5-9E0C-87C778EC58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FFFA535-59D5-4C7A-946D-D0B8DBCE44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0017862E-6379-4667-AA8A-7BD697E18C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317C5F5-036E-4011-8B7D-7B572620A9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A0D8CFF-8AD5-4D7F-B6B4-43E29B63D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B972A6DD-DDA7-4BEC-9AE0-CDBE22EF18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010F773-4463-4CEE-947C-340E5FBAC3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49955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665289"/>
            <a:ext cx="468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F4E88F-BEA2-49FD-AB3A-CCBC65363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737708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7304217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575937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1193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1193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587633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665289"/>
            <a:ext cx="468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210325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575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0685140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59145"/>
            <a:ext cx="2662162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1801" y="2051999"/>
            <a:ext cx="2662162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0920" y="1659145"/>
            <a:ext cx="2662162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5601" y="2051999"/>
            <a:ext cx="2662162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105601" y="1659145"/>
            <a:ext cx="2662162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472745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674086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674086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674086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674086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746344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78000" y="1672337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665377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45377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45377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45377"/>
            <a:ext cx="2466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45377"/>
            <a:ext cx="2476944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357585" y="1669027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4638675" y="1669027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761CD0-A115-446B-9662-DC8BC9A4F3B6}"/>
              </a:ext>
            </a:extLst>
          </p:cNvPr>
          <p:cNvSpPr/>
          <p:nvPr userDrawn="1"/>
        </p:nvSpPr>
        <p:spPr>
          <a:xfrm>
            <a:off x="357585" y="1669027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AFCD77-2840-4457-A8CC-250E024F5885}"/>
              </a:ext>
            </a:extLst>
          </p:cNvPr>
          <p:cNvSpPr/>
          <p:nvPr userDrawn="1"/>
        </p:nvSpPr>
        <p:spPr>
          <a:xfrm>
            <a:off x="4638675" y="1669027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3D724AF-B48B-4AA6-91C8-B438C37A88D1}"/>
              </a:ext>
            </a:extLst>
          </p:cNvPr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34AA612-2961-40D2-9A4E-EDAE9FEF230D}"/>
              </a:ext>
            </a:extLst>
          </p:cNvPr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83407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05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6239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2400"/>
              </a:lnSpc>
              <a:defRPr sz="24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182227E-579E-4532-A5CC-BAC597A2EB71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39C72C34-6FFB-4CE7-B304-C8C74BF6C3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8DD3099C-72C7-4FA0-86A0-B67C325463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A346B900-C0DF-411B-8CA4-F1F42FADD5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13AA319-AFB1-42C9-901B-8EDCF290F8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7C98F536-510C-46EE-B359-F810D5B655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CBFA1F5-173A-441A-A6FD-71FCDBF30A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083DD0E-D155-404B-A6D6-B4804E93F1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953D3259-EB90-4A35-B743-E514431BA3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FDAED7B-04A0-4660-92A8-D8107837CA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137EB39F-D265-46F7-A030-ED8CFA46BB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09957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4656" y="1857892"/>
            <a:ext cx="4100118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57893"/>
            <a:ext cx="907655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34643" y="1857893"/>
            <a:ext cx="93312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C6EA4C-B76A-4261-B420-F9400DB4E471}"/>
              </a:ext>
            </a:extLst>
          </p:cNvPr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B98A0D-4A0B-45A0-912D-4D61546E92C6}"/>
              </a:ext>
            </a:extLst>
          </p:cNvPr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52653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2527" y="1857893"/>
            <a:ext cx="93312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GB" sz="825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49683"/>
            <a:ext cx="929536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1245" y="4249683"/>
            <a:ext cx="93312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57893"/>
            <a:ext cx="907655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656" y="1857892"/>
            <a:ext cx="4100118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84646" y="1857892"/>
            <a:ext cx="4100118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2973" y="4249681"/>
            <a:ext cx="4100118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84646" y="4249681"/>
            <a:ext cx="4100118" cy="1695450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26344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4656" y="1857892"/>
            <a:ext cx="2688348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454" y="1861482"/>
            <a:ext cx="2688348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11553" y="1857891"/>
            <a:ext cx="2688348" cy="3839303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0305696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674088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674088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674088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2098946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538552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9105217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2737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1804667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22090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4211955"/>
            <a:ext cx="1739627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6018028"/>
            <a:ext cx="1739626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3AC783-B7E6-42BB-A92D-0ADBC2997BD0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9F2F744D-AEA8-4CF0-9A14-E2B8AD2410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E62CECF6-150D-469C-9E24-8A478A950A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5AD24CEC-D748-4AC1-BB7B-7A25E5679D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40C7F824-A886-4BC7-B778-20FA0AA9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2FA61C41-4509-484F-BCF2-C180FF4388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204D49B7-F599-46BF-BA65-9824F012BE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836DFB0-FEE2-4420-9E5F-C49F952F1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085F925D-8AEB-48CC-8FB5-C3C2B0238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492B745-F78F-4675-B594-05FC06EBB4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46FAB7FD-7A62-4416-99F4-89F16D7EA0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071622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670835"/>
            <a:ext cx="790575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4943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4211955"/>
            <a:ext cx="1739627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6018028"/>
            <a:ext cx="1739626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71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6CCAF7-D53A-49D2-811F-A8F83A7B327B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02856B76-941B-4ADA-8EF5-820A4B31FC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F949CC49-8AC1-46F1-A9CB-7D1703D4A0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EAC81131-807B-481B-8BE9-7758F3EF20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B893F76-90D5-40E5-A58E-15D7125CDC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A7C1E91F-68E0-461B-9A19-8DDA2F52A7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DECCB569-588D-4D54-A458-11BACEF31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C5ED5F4-D1F6-43A7-A1F9-71BFAA6DE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643F8374-D00F-4C56-8925-4FA56854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52ADE88-EEC9-431F-A0AC-613B5DE70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2AE2FE11-C27C-49AF-B0C7-58BEFA645D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9657581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5DA332A-5FDA-44BD-83A8-C1B461175217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EF67F89-55D5-4B02-B284-7F2FE86B67EB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081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17FACB0-195F-4DAB-9FD5-772A304E9FB3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822DAB5-ADF4-4108-87C8-45273001E73C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5424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C7679691-90FD-4587-A54E-DFB71521FB0F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4ACF8F1C-1E3E-405F-9EE4-66FBDF1175E0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7593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E87B4871-A895-4F6C-A692-6DEF6F3DEE68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0A667F0-B7EF-4F5E-92CD-27B38F79EFE4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15577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D2797B33-F6AE-464E-B1F9-AAF8C558042B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8CA3D77-96FD-468A-A22B-1C767AC6D413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15430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662556F3-FB07-45E1-9730-3CF5E862F61B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45EF10F-B1C8-4ED2-A091-1C2F837B31E4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16281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519956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7190" y="2556000"/>
            <a:ext cx="1944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>
            <a:normAutofit/>
          </a:bodyPr>
          <a:lstStyle>
            <a:lvl1pPr marL="0" indent="0">
              <a:defRPr sz="1300" b="1">
                <a:solidFill>
                  <a:schemeClr val="bg1"/>
                </a:solidFill>
                <a:latin typeface="+mj-lt"/>
              </a:defRPr>
            </a:lvl1pPr>
            <a:lvl2pPr marL="10477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  <a:endParaRPr lang="en-US" noProof="0"/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93354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2527" y="1857893"/>
            <a:ext cx="93312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49683"/>
            <a:ext cx="929536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1245" y="4249683"/>
            <a:ext cx="93312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57893"/>
            <a:ext cx="907655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>
                <a:solidFill>
                  <a:schemeClr val="bg1"/>
                </a:solidFill>
              </a:rPr>
              <a:t>Co-brand</a:t>
            </a:r>
            <a:br>
              <a:rPr lang="en-US" sz="900">
                <a:solidFill>
                  <a:schemeClr val="bg1"/>
                </a:solidFill>
              </a:rPr>
            </a:br>
            <a:r>
              <a:rPr lang="en-US" sz="9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3400EF-52A1-4F49-9A72-7AAA7A3E2109}"/>
              </a:ext>
            </a:extLst>
          </p:cNvPr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7EBD73-619B-4083-AA58-A9B7F851FABB}"/>
              </a:ext>
            </a:extLst>
          </p:cNvPr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36D0BF-951E-4BCD-8E21-2F3F2629B1BE}"/>
              </a:ext>
            </a:extLst>
          </p:cNvPr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87004E2-4A82-478A-BFDB-7103ADDD0F56}"/>
              </a:ext>
            </a:extLst>
          </p:cNvPr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4049" y="1856232"/>
            <a:ext cx="4150271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25197" y="1847618"/>
            <a:ext cx="4150271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59049" y="4256623"/>
            <a:ext cx="4150271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4094" y="4256623"/>
            <a:ext cx="4150271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351592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66A349-D016-439D-A265-9A113E0DC1FD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895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4211955"/>
            <a:ext cx="1739627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6018028"/>
            <a:ext cx="1739626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312BEF-D981-409E-BB9D-8ADA7F5CEDA3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A3DCCC6C-7C7B-4959-9802-AA86D4A5D4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FBB35EFE-3FC8-4B92-BB36-3C8D37C8F2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88576374-1FBE-4083-9352-4C1DBD474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6B7D103-6910-4DFD-9346-26787E9B9E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88B02810-A46E-4CCF-8770-29A5850AB4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C002C259-A628-46D7-85B5-4E7990B538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24B8794B-90C4-432D-98F0-8319EA943E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585E0BDF-5DCD-4C36-9D16-489F0BC857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3FE3125-2476-46F4-AEEC-D6EAF80C7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698FEF2-CDD3-4796-A7C5-DD3DDD389D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72251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52" name="Picture Placeholder 8">
            <a:extLst>
              <a:ext uri="{FF2B5EF4-FFF2-40B4-BE49-F238E27FC236}">
                <a16:creationId xmlns:a16="http://schemas.microsoft.com/office/drawing/2014/main" id="{27C09EB3-4C86-4B88-B9B3-4061BBB643D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83499" y="804672"/>
            <a:ext cx="5404104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6239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17111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A0BD833-5739-4FDB-B21F-A7A7C0EEC237}"/>
              </a:ext>
            </a:extLst>
          </p:cNvPr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D1771689-8745-4F67-ACB0-2FA880B629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3568588-502F-4601-817C-92A01354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DA2B9600-D91E-468D-9D31-33B92E3947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01FF30FF-ADCC-4CD2-B09E-60F75CA993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626A5D63-C61D-476A-A2EC-68200DDB9C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7CF26D08-DDCB-480D-A0A6-78132794DD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480F8B4-FD1C-4275-AAA2-9419EC0B4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5B7B28FE-7DA7-4E92-B122-4B8FF96D2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DD066F0D-1BE8-441F-AEA3-D80F502E6D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400E2E76-B6C3-46F1-A088-5C42F7BC8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6239" y="5186208"/>
            <a:ext cx="3334702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B09C439-6EAE-4988-B2EB-173546F60C3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91067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62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9" y="317503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39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6355058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9" y="317503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939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666407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27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376237" y="6476999"/>
            <a:ext cx="4016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FB851A-9A52-4D1A-9531-091A228B7093}"/>
              </a:ext>
            </a:extLst>
          </p:cNvPr>
          <p:cNvSpPr txBox="1"/>
          <p:nvPr userDrawn="1"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3263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65288"/>
            <a:ext cx="6958012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27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080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74088"/>
            <a:ext cx="8391524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6928092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B52998-BAFF-4727-9F38-10E5378F1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5680217"/>
      </p:ext>
    </p:extLst>
  </p:cSld>
  <p:clrMapOvr>
    <a:masterClrMapping/>
  </p:clrMapOvr>
  <p:transition>
    <p:fade/>
  </p:transition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>
                <a:latin typeface="+mn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2ED25F-F6FC-488E-B8A8-CFEA8E8A6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798466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19270360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4751388" y="6477001"/>
            <a:ext cx="3672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376237" y="6476999"/>
            <a:ext cx="4016376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450"/>
              </a:spcBef>
              <a:buSzPct val="100000"/>
              <a:buFont typeface="Arial"/>
              <a:buNone/>
            </a:pPr>
            <a:r>
              <a:rPr lang="en-US" sz="900" b="0" noProof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6783" y="6477002"/>
            <a:ext cx="230981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67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  <p:sldLayoutId id="2147484020" r:id="rId25"/>
    <p:sldLayoutId id="2147484021" r:id="rId26"/>
    <p:sldLayoutId id="2147484022" r:id="rId27"/>
    <p:sldLayoutId id="2147484023" r:id="rId28"/>
    <p:sldLayoutId id="2147484024" r:id="rId29"/>
    <p:sldLayoutId id="2147484025" r:id="rId30"/>
    <p:sldLayoutId id="2147484028" r:id="rId31"/>
    <p:sldLayoutId id="2147484029" r:id="rId32"/>
    <p:sldLayoutId id="2147484030" r:id="rId33"/>
    <p:sldLayoutId id="2147484031" r:id="rId34"/>
    <p:sldLayoutId id="2147484032" r:id="rId35"/>
    <p:sldLayoutId id="2147484033" r:id="rId36"/>
    <p:sldLayoutId id="2147484036" r:id="rId37"/>
    <p:sldLayoutId id="2147484037" r:id="rId38"/>
    <p:sldLayoutId id="2147484038" r:id="rId39"/>
    <p:sldLayoutId id="2147484039" r:id="rId40"/>
    <p:sldLayoutId id="2147483947" r:id="rId41"/>
    <p:sldLayoutId id="2147483948" r:id="rId42"/>
    <p:sldLayoutId id="2147483960" r:id="rId43"/>
    <p:sldLayoutId id="2147484043" r:id="rId44"/>
    <p:sldLayoutId id="2147484044" r:id="rId45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5098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39" pos="3840">
          <p15:clr>
            <a:srgbClr val="F26B43"/>
          </p15:clr>
        </p15:guide>
        <p15:guide id="40" pos="6299">
          <p15:clr>
            <a:srgbClr val="F26B43"/>
          </p15:clr>
        </p15:guide>
        <p15:guide id="41" orient="horz" pos="104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public.tableau.com/app/profile/federal.trade.commission/viz/TheBigViewAllSentinelReports/TrendsOverTim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kaggle.com/datasets/mlg-ulb/creditcardfraud?datasetId=310&amp;sortBy=voteCount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1636" y="4947549"/>
            <a:ext cx="7080728" cy="895983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  <a:ea typeface="Open Sans"/>
                <a:cs typeface="Adobe Devanagari" panose="02040503050201020203" pitchFamily="18" charset="0"/>
              </a:rPr>
              <a:t>AI Academy Capstone </a:t>
            </a:r>
            <a:r>
              <a:rPr lang="en-US" sz="3200" dirty="0">
                <a:solidFill>
                  <a:schemeClr val="bg1"/>
                </a:solidFill>
                <a:latin typeface="+mj-lt"/>
                <a:ea typeface="Open Sans"/>
                <a:cs typeface="Adobe Devanagari" panose="02040503050201020203" pitchFamily="18" charset="0"/>
              </a:rPr>
              <a:t>– </a:t>
            </a:r>
            <a:br>
              <a:rPr lang="en-US" sz="3200" dirty="0">
                <a:solidFill>
                  <a:schemeClr val="bg1"/>
                </a:solidFill>
                <a:latin typeface="+mj-lt"/>
                <a:ea typeface="Open Sans"/>
                <a:cs typeface="Adobe Devanagari" panose="02040503050201020203" pitchFamily="18" charset="0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  <a:ea typeface="Open Sans"/>
                <a:cs typeface="Adobe Devanagari" panose="02040503050201020203" pitchFamily="18" charset="0"/>
              </a:rPr>
              <a:t>Found in a Random Forest</a:t>
            </a:r>
            <a:endParaRPr lang="en-US" sz="3200" dirty="0">
              <a:solidFill>
                <a:schemeClr val="bg1"/>
              </a:solidFill>
              <a:latin typeface="+mj-lt"/>
              <a:cs typeface="Adobe Devanagari" panose="02040503050201020203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+mj-lt"/>
                <a:cs typeface="Adobe Devanagari" panose="02040503050201020203" pitchFamily="18" charset="0"/>
              </a:rPr>
              <a:t>February 3, 202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C68AAAD-B62C-4B46-B381-E235C2D42CF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665288" y="5505025"/>
            <a:ext cx="1271884" cy="127188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D0A60AF-1142-497E-AB79-C4FA9931AAF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158" t="12594" r="13158" b="12594"/>
          <a:stretch/>
        </p:blipFill>
        <p:spPr>
          <a:xfrm>
            <a:off x="2814918" y="1014468"/>
            <a:ext cx="3514164" cy="356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4263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D81D76FF-F3D9-5804-88E3-E1636A8CF1C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851737" y="2064034"/>
            <a:ext cx="2188568" cy="3214977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  <a:latin typeface="-apple-system"/>
              </a:rPr>
              <a:t>M</a:t>
            </a:r>
            <a:r>
              <a:rPr lang="en-US" b="0" i="0" dirty="0">
                <a:solidFill>
                  <a:schemeClr val="tx1"/>
                </a:solidFill>
                <a:effectLst/>
                <a:latin typeface="-apple-system"/>
              </a:rPr>
              <a:t>ore than </a:t>
            </a:r>
            <a:r>
              <a:rPr lang="en-US" b="1" i="0" dirty="0">
                <a:solidFill>
                  <a:schemeClr val="accent4"/>
                </a:solidFill>
                <a:effectLst/>
                <a:latin typeface="-apple-system"/>
              </a:rPr>
              <a:t>$5.8 billion </a:t>
            </a:r>
            <a:r>
              <a:rPr lang="en-US" b="0" i="0" dirty="0">
                <a:solidFill>
                  <a:schemeClr val="tx1"/>
                </a:solidFill>
                <a:effectLst/>
                <a:latin typeface="-apple-system"/>
              </a:rPr>
              <a:t>was lost due to report fraud.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~ </a:t>
            </a:r>
            <a:r>
              <a:rPr lang="en-US" b="1" i="0" dirty="0">
                <a:solidFill>
                  <a:schemeClr val="accent4"/>
                </a:solidFill>
                <a:effectLst/>
                <a:latin typeface="-apple-system"/>
              </a:rPr>
              <a:t>390,000 reports </a:t>
            </a:r>
            <a:r>
              <a:rPr lang="en-US" b="0" i="0" dirty="0">
                <a:solidFill>
                  <a:schemeClr val="tx1"/>
                </a:solidFill>
                <a:effectLst/>
                <a:latin typeface="-apple-system"/>
              </a:rPr>
              <a:t>of credit card fraud.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Financial institutions aren’t the only organizations impacted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A8D3958-CD3F-46BD-973A-F0C1B633C8BF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3"/>
          <a:stretch>
            <a:fillRect/>
          </a:stretch>
        </p:blipFill>
        <p:spPr>
          <a:xfrm>
            <a:off x="80944" y="1112363"/>
            <a:ext cx="6770794" cy="4939645"/>
          </a:xfrm>
          <a:noFill/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087118-613C-9A85-3F1A-FC31EAE804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91525" cy="757255"/>
          </a:xfrm>
        </p:spPr>
        <p:txBody>
          <a:bodyPr>
            <a:normAutofit/>
          </a:bodyPr>
          <a:lstStyle/>
          <a:p>
            <a:r>
              <a:rPr lang="en-US" sz="1400" dirty="0"/>
              <a:t>O</a:t>
            </a:r>
            <a:r>
              <a:rPr lang="en-US" sz="1400" b="0" i="0" dirty="0">
                <a:effectLst/>
              </a:rPr>
              <a:t>rganizations, governments, and private citizens are at risk of becoming victims of fraud.</a:t>
            </a: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D30E20-1946-418A-8DDA-E16F6E7FF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 anchor="t">
            <a:normAutofit/>
          </a:bodyPr>
          <a:lstStyle/>
          <a:p>
            <a:r>
              <a:rPr lang="en-US" b="1" dirty="0"/>
              <a:t>How prevalent is financial fraud?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A7B19AE-92EA-423B-80A0-5B6A59472E7B}"/>
              </a:ext>
            </a:extLst>
          </p:cNvPr>
          <p:cNvSpPr txBox="1">
            <a:spLocks/>
          </p:cNvSpPr>
          <p:nvPr/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wrap="none" lIns="0" tIns="0" rIns="0" bIns="0"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975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975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975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97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975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CF1A2D-1EC1-47E2-AB98-38C3161F9382}"/>
              </a:ext>
            </a:extLst>
          </p:cNvPr>
          <p:cNvSpPr txBox="1"/>
          <p:nvPr/>
        </p:nvSpPr>
        <p:spPr>
          <a:xfrm>
            <a:off x="376237" y="6193410"/>
            <a:ext cx="259320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50" dirty="0">
                <a:solidFill>
                  <a:srgbClr val="313131"/>
                </a:solidFill>
              </a:rPr>
              <a:t>Source: </a:t>
            </a:r>
            <a:r>
              <a:rPr lang="en-US" sz="1050" dirty="0">
                <a:latin typeface="-apple-system"/>
                <a:hlinkClick r:id="rId4"/>
              </a:rPr>
              <a:t>FTC Consumer Sentinel Network, 2022</a:t>
            </a:r>
            <a:endParaRPr lang="en-US" sz="105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68424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816192"/>
            <a:ext cx="8391525" cy="757255"/>
          </a:xfrm>
        </p:spPr>
        <p:txBody>
          <a:bodyPr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  <a:cs typeface="Calibri Light"/>
              </a:rPr>
              <a:t>The</a:t>
            </a:r>
            <a:r>
              <a:rPr lang="en-US" sz="1400" i="0" dirty="0">
                <a:solidFill>
                  <a:schemeClr val="tx2"/>
                </a:solidFill>
                <a:effectLst/>
                <a:cs typeface="Calibri Light"/>
              </a:rPr>
              <a:t> decision tree and random forest analytical module were trained on a real-world credit card transaction data set.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852ADB-BFEF-37E5-D20B-0174468DB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482093"/>
            <a:ext cx="8391525" cy="334099"/>
          </a:xfrm>
        </p:spPr>
        <p:txBody>
          <a:bodyPr/>
          <a:lstStyle/>
          <a:p>
            <a:r>
              <a:rPr lang="en-US" b="1" dirty="0">
                <a:cs typeface="Calibri Light"/>
              </a:rPr>
              <a:t>What data set was used and what models were utilized?</a:t>
            </a:r>
            <a:endParaRPr lang="en-US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90112B-16AB-4C50-B50E-4029197766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274" y="2727421"/>
            <a:ext cx="4387452" cy="3510047"/>
          </a:xfrm>
          <a:prstGeom prst="rect">
            <a:avLst/>
          </a:prstGeom>
        </p:spPr>
      </p:pic>
      <p:sp>
        <p:nvSpPr>
          <p:cNvPr id="24" name="Text Box 10">
            <a:extLst>
              <a:ext uri="{FF2B5EF4-FFF2-40B4-BE49-F238E27FC236}">
                <a16:creationId xmlns:a16="http://schemas.microsoft.com/office/drawing/2014/main" id="{E5158854-EA8A-4B3E-AE1E-91001E080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2495" y="1191964"/>
            <a:ext cx="3796446" cy="265023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66675" tIns="66675" rIns="66675" bIns="66675" anchor="ctr" anchorCtr="1"/>
          <a:lstStyle/>
          <a:p>
            <a:pPr defTabSz="717947"/>
            <a:r>
              <a:rPr lang="en-US" sz="1100" b="1" dirty="0">
                <a:solidFill>
                  <a:schemeClr val="bg1"/>
                </a:solidFill>
                <a:latin typeface="+mj-lt"/>
              </a:rPr>
              <a:t>Credit Card Fraud Detection (</a:t>
            </a:r>
            <a:r>
              <a:rPr lang="en-US" sz="1100" b="1" dirty="0">
                <a:solidFill>
                  <a:schemeClr val="bg1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1E12D3C-AF71-49FE-9806-F044AB74C3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495" y="1419498"/>
            <a:ext cx="3796446" cy="757255"/>
          </a:xfrm>
          <a:prstGeom prst="rect">
            <a:avLst/>
          </a:prstGeom>
          <a:solidFill>
            <a:schemeClr val="accent1">
              <a:alpha val="2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6675" tIns="66675" rIns="66675" bIns="66675" anchor="t"/>
          <a:lstStyle/>
          <a:p>
            <a:pPr marL="269717" indent="-269717" defTabSz="718499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en-US" sz="1000" b="0" i="0" dirty="0">
                <a:effectLst/>
                <a:latin typeface="-apple-system"/>
              </a:rPr>
              <a:t>The dataset used contains transactions made by credit cards in September 2013 by European cardholders. </a:t>
            </a:r>
          </a:p>
          <a:p>
            <a:pPr marL="269717" indent="-269717" defTabSz="718499">
              <a:spcBef>
                <a:spcPts val="225"/>
              </a:spcBef>
              <a:buFont typeface="Arial" panose="020B0604020202020204" pitchFamily="34" charset="0"/>
              <a:buChar char="•"/>
              <a:defRPr/>
            </a:pPr>
            <a:r>
              <a:rPr lang="en-US" sz="1000" b="0" i="0" dirty="0">
                <a:effectLst/>
                <a:latin typeface="-apple-system"/>
              </a:rPr>
              <a:t>The dataset presents 284,807 transactions, of which 492 were fraudulent. </a:t>
            </a:r>
            <a:endParaRPr lang="en-US" sz="1000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FEAA1C9-6E2D-47E9-8458-A39357C2265B}"/>
              </a:ext>
            </a:extLst>
          </p:cNvPr>
          <p:cNvGrpSpPr/>
          <p:nvPr/>
        </p:nvGrpSpPr>
        <p:grpSpPr>
          <a:xfrm>
            <a:off x="4340947" y="1191964"/>
            <a:ext cx="4567874" cy="984789"/>
            <a:chOff x="4510138" y="1184108"/>
            <a:chExt cx="3964709" cy="984789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3E6C463-5095-420D-ACA6-80618E3C2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0138" y="1411642"/>
              <a:ext cx="3964709" cy="757255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b="0" i="0" dirty="0">
                  <a:effectLst/>
                  <a:latin typeface="-apple-system"/>
                </a:rPr>
                <a:t>28 of 30 features have already undergone a PCA transformation.</a:t>
              </a:r>
            </a:p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-apple-system"/>
                </a:rPr>
                <a:t>D</a:t>
              </a:r>
              <a:r>
                <a:rPr lang="en-US" sz="1000" b="0" i="0" dirty="0">
                  <a:effectLst/>
                  <a:latin typeface="-apple-system"/>
                </a:rPr>
                <a:t>ue to confidentiality reasons, the only labeled features are 'Time' and 'Amount', which are the two that have not undergone PCA.</a:t>
              </a:r>
            </a:p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b="0" i="0" dirty="0">
                  <a:effectLst/>
                  <a:latin typeface="-apple-system"/>
                </a:rPr>
                <a:t>The 'Class’ feature is the response variable.</a:t>
              </a:r>
              <a:endParaRPr lang="en-US" sz="1000" dirty="0">
                <a:latin typeface="+mj-lt"/>
              </a:endParaRPr>
            </a:p>
          </p:txBody>
        </p:sp>
        <p:sp>
          <p:nvSpPr>
            <p:cNvPr id="27" name="Text Box 10">
              <a:extLst>
                <a:ext uri="{FF2B5EF4-FFF2-40B4-BE49-F238E27FC236}">
                  <a16:creationId xmlns:a16="http://schemas.microsoft.com/office/drawing/2014/main" id="{F40D1601-F686-432C-930E-9AE01E5E08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0138" y="1184108"/>
              <a:ext cx="3964709" cy="265023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Features of the Data Set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D7B2CE-B782-4C50-80A0-9AAD3DC86DE7}"/>
              </a:ext>
            </a:extLst>
          </p:cNvPr>
          <p:cNvCxnSpPr/>
          <p:nvPr/>
        </p:nvCxnSpPr>
        <p:spPr>
          <a:xfrm>
            <a:off x="332494" y="2375555"/>
            <a:ext cx="8576327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FD70CC8-B0BD-4469-ACA1-C95A98220CE2}"/>
              </a:ext>
            </a:extLst>
          </p:cNvPr>
          <p:cNvSpPr/>
          <p:nvPr/>
        </p:nvSpPr>
        <p:spPr bwMode="gray">
          <a:xfrm>
            <a:off x="3789575" y="2235948"/>
            <a:ext cx="782425" cy="26257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885411-B230-4F6A-B8F1-52C9FF8D31D0}"/>
              </a:ext>
            </a:extLst>
          </p:cNvPr>
          <p:cNvSpPr txBox="1"/>
          <p:nvPr/>
        </p:nvSpPr>
        <p:spPr>
          <a:xfrm>
            <a:off x="3926361" y="2274899"/>
            <a:ext cx="64563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>
                <a:solidFill>
                  <a:srgbClr val="313131"/>
                </a:solidFill>
              </a:rPr>
              <a:t>Modul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B355B8B-CF85-41E1-815A-AB296C94A9B0}"/>
              </a:ext>
            </a:extLst>
          </p:cNvPr>
          <p:cNvGrpSpPr/>
          <p:nvPr/>
        </p:nvGrpSpPr>
        <p:grpSpPr>
          <a:xfrm>
            <a:off x="6542202" y="3080637"/>
            <a:ext cx="2528446" cy="2357865"/>
            <a:chOff x="4510138" y="1184108"/>
            <a:chExt cx="3964709" cy="233729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0F758E3-4E18-4940-BF92-9D2A478A28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0138" y="1411642"/>
              <a:ext cx="3964709" cy="2109763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Supervised machine learning algorithm.</a:t>
              </a:r>
            </a:p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A random forest consists of a number of individual decision trees that operate as an ensemble.</a:t>
              </a:r>
            </a:p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Each individual tree in the forest performs its own class prediction.</a:t>
              </a:r>
            </a:p>
            <a:p>
              <a:pPr marL="269717" indent="-269717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A random forest is the natural progression from decision trees as they reduce the risk of overfitting and can easily determine and evaluate feature importance.</a:t>
              </a:r>
            </a:p>
          </p:txBody>
        </p:sp>
        <p:sp>
          <p:nvSpPr>
            <p:cNvPr id="48" name="Text Box 10">
              <a:extLst>
                <a:ext uri="{FF2B5EF4-FFF2-40B4-BE49-F238E27FC236}">
                  <a16:creationId xmlns:a16="http://schemas.microsoft.com/office/drawing/2014/main" id="{2D5479F7-9935-42AD-948C-8FC6B702B7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0138" y="1184108"/>
              <a:ext cx="3964709" cy="265023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Random Forest Analytical Modul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CA4C4C-5EC2-4C82-A326-173C7364B93B}"/>
              </a:ext>
            </a:extLst>
          </p:cNvPr>
          <p:cNvGrpSpPr/>
          <p:nvPr/>
        </p:nvGrpSpPr>
        <p:grpSpPr>
          <a:xfrm>
            <a:off x="72493" y="3080635"/>
            <a:ext cx="2396470" cy="2357867"/>
            <a:chOff x="4510138" y="1184107"/>
            <a:chExt cx="3964709" cy="2337298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0B593D9-3F5F-4628-AAEA-2082D2137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0138" y="1411641"/>
              <a:ext cx="3964709" cy="2109764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marL="171450" indent="-171450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Supervised machine learning algorithm.</a:t>
              </a:r>
            </a:p>
            <a:p>
              <a:pPr marL="171450" indent="-171450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A decision tree is a flowchart-like structure in which each internal node represents a test on a feature.</a:t>
              </a:r>
            </a:p>
            <a:p>
              <a:pPr marL="171450" indent="-171450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Each leaf node represents a class label.</a:t>
              </a:r>
            </a:p>
            <a:p>
              <a:pPr marL="171450" indent="-171450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solidFill>
                    <a:srgbClr val="292929"/>
                  </a:solidFill>
                  <a:latin typeface="source-serif-pro"/>
                </a:rPr>
                <a:t>Great for classification problems and predictive analysis as they break down complex data into more manageable information.</a:t>
              </a:r>
              <a:r>
                <a:rPr lang="en-US" sz="1000" dirty="0">
                  <a:latin typeface="+mj-lt"/>
                </a:rPr>
                <a:t> </a:t>
              </a:r>
            </a:p>
            <a:p>
              <a:pPr marL="171450" indent="-171450" defTabSz="718499">
                <a:spcBef>
                  <a:spcPts val="2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00" dirty="0">
                  <a:latin typeface="+mj-lt"/>
                </a:rPr>
                <a:t>They are easily interpretated.</a:t>
              </a:r>
            </a:p>
          </p:txBody>
        </p:sp>
        <p:sp>
          <p:nvSpPr>
            <p:cNvPr id="51" name="Text Box 10">
              <a:extLst>
                <a:ext uri="{FF2B5EF4-FFF2-40B4-BE49-F238E27FC236}">
                  <a16:creationId xmlns:a16="http://schemas.microsoft.com/office/drawing/2014/main" id="{F4DF6723-124B-4FA9-AE98-565313C354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0138" y="1184107"/>
              <a:ext cx="3964709" cy="265023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Decision Tree Analytical Modu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13696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  <a:ea typeface="+mj-lt"/>
                <a:cs typeface="+mj-lt"/>
              </a:rPr>
              <a:t>Impact of the Models </a:t>
            </a:r>
            <a:r>
              <a:rPr lang="en-US" b="1" dirty="0">
                <a:ea typeface="+mj-lt"/>
                <a:cs typeface="+mj-lt"/>
              </a:rPr>
              <a:t>| Results Overview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1B56D1-EE5F-4A2F-9445-167D8108D2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9524" y="651600"/>
            <a:ext cx="8391525" cy="757255"/>
          </a:xfrm>
        </p:spPr>
        <p:txBody>
          <a:bodyPr/>
          <a:lstStyle/>
          <a:p>
            <a:r>
              <a:rPr lang="en-US" sz="1400" dirty="0"/>
              <a:t>The pruned random forest model performed better than the baseline decision tree and was less complex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15A80F1-AD70-4B9E-AE20-D177312DF47E}"/>
              </a:ext>
            </a:extLst>
          </p:cNvPr>
          <p:cNvGrpSpPr/>
          <p:nvPr/>
        </p:nvGrpSpPr>
        <p:grpSpPr>
          <a:xfrm>
            <a:off x="1183591" y="2955130"/>
            <a:ext cx="3450304" cy="1912981"/>
            <a:chOff x="3272363" y="5007303"/>
            <a:chExt cx="3499118" cy="1215207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7738854-DE52-4F74-9D3E-D98A7DF7DF51}"/>
                </a:ext>
              </a:extLst>
            </p:cNvPr>
            <p:cNvGrpSpPr/>
            <p:nvPr/>
          </p:nvGrpSpPr>
          <p:grpSpPr>
            <a:xfrm>
              <a:off x="3272363" y="5007303"/>
              <a:ext cx="3499118" cy="1215207"/>
              <a:chOff x="2971216" y="3834285"/>
              <a:chExt cx="3499118" cy="1215207"/>
            </a:xfrm>
          </p:grpSpPr>
          <p:sp>
            <p:nvSpPr>
              <p:cNvPr id="58" name="Pentagon 12">
                <a:extLst>
                  <a:ext uri="{FF2B5EF4-FFF2-40B4-BE49-F238E27FC236}">
                    <a16:creationId xmlns:a16="http://schemas.microsoft.com/office/drawing/2014/main" id="{B7F16DB2-EF6F-462C-BBCA-4DD2BDF8EB90}"/>
                  </a:ext>
                </a:extLst>
              </p:cNvPr>
              <p:cNvSpPr/>
              <p:nvPr/>
            </p:nvSpPr>
            <p:spPr>
              <a:xfrm flipH="1">
                <a:off x="4160384" y="3834285"/>
                <a:ext cx="2309950" cy="576995"/>
              </a:xfrm>
              <a:custGeom>
                <a:avLst/>
                <a:gdLst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215640"/>
                  <a:gd name="connsiteY0" fmla="*/ 0 h 833437"/>
                  <a:gd name="connsiteX1" fmla="*/ 2433159 w 3215640"/>
                  <a:gd name="connsiteY1" fmla="*/ 0 h 833437"/>
                  <a:gd name="connsiteX2" fmla="*/ 3215640 w 3215640"/>
                  <a:gd name="connsiteY2" fmla="*/ 531019 h 833437"/>
                  <a:gd name="connsiteX3" fmla="*/ 2433159 w 3215640"/>
                  <a:gd name="connsiteY3" fmla="*/ 833437 h 833437"/>
                  <a:gd name="connsiteX4" fmla="*/ 0 w 3215640"/>
                  <a:gd name="connsiteY4" fmla="*/ 833437 h 833437"/>
                  <a:gd name="connsiteX5" fmla="*/ 0 w 3215640"/>
                  <a:gd name="connsiteY5" fmla="*/ 0 h 833437"/>
                  <a:gd name="connsiteX0" fmla="*/ 0 w 3215640"/>
                  <a:gd name="connsiteY0" fmla="*/ 0 h 833437"/>
                  <a:gd name="connsiteX1" fmla="*/ 2433159 w 3215640"/>
                  <a:gd name="connsiteY1" fmla="*/ 0 h 833437"/>
                  <a:gd name="connsiteX2" fmla="*/ 3215640 w 3215640"/>
                  <a:gd name="connsiteY2" fmla="*/ 531019 h 833437"/>
                  <a:gd name="connsiteX3" fmla="*/ 2433159 w 3215640"/>
                  <a:gd name="connsiteY3" fmla="*/ 833437 h 833437"/>
                  <a:gd name="connsiteX4" fmla="*/ 0 w 3215640"/>
                  <a:gd name="connsiteY4" fmla="*/ 833437 h 833437"/>
                  <a:gd name="connsiteX5" fmla="*/ 0 w 3215640"/>
                  <a:gd name="connsiteY5" fmla="*/ 0 h 833437"/>
                  <a:gd name="connsiteX0" fmla="*/ 0 w 3234548"/>
                  <a:gd name="connsiteY0" fmla="*/ 0 h 833437"/>
                  <a:gd name="connsiteX1" fmla="*/ 2433159 w 3234548"/>
                  <a:gd name="connsiteY1" fmla="*/ 0 h 833437"/>
                  <a:gd name="connsiteX2" fmla="*/ 3215640 w 3234548"/>
                  <a:gd name="connsiteY2" fmla="*/ 531019 h 833437"/>
                  <a:gd name="connsiteX3" fmla="*/ 2946082 w 3234548"/>
                  <a:gd name="connsiteY3" fmla="*/ 668337 h 833437"/>
                  <a:gd name="connsiteX4" fmla="*/ 2433159 w 3234548"/>
                  <a:gd name="connsiteY4" fmla="*/ 833437 h 833437"/>
                  <a:gd name="connsiteX5" fmla="*/ 0 w 3234548"/>
                  <a:gd name="connsiteY5" fmla="*/ 833437 h 833437"/>
                  <a:gd name="connsiteX6" fmla="*/ 0 w 3234548"/>
                  <a:gd name="connsiteY6" fmla="*/ 0 h 833437"/>
                  <a:gd name="connsiteX0" fmla="*/ 0 w 3243981"/>
                  <a:gd name="connsiteY0" fmla="*/ 0 h 833437"/>
                  <a:gd name="connsiteX1" fmla="*/ 2433159 w 3243981"/>
                  <a:gd name="connsiteY1" fmla="*/ 0 h 833437"/>
                  <a:gd name="connsiteX2" fmla="*/ 3215640 w 3243981"/>
                  <a:gd name="connsiteY2" fmla="*/ 531019 h 833437"/>
                  <a:gd name="connsiteX3" fmla="*/ 3047682 w 3243981"/>
                  <a:gd name="connsiteY3" fmla="*/ 528637 h 833437"/>
                  <a:gd name="connsiteX4" fmla="*/ 2433159 w 3243981"/>
                  <a:gd name="connsiteY4" fmla="*/ 833437 h 833437"/>
                  <a:gd name="connsiteX5" fmla="*/ 0 w 3243981"/>
                  <a:gd name="connsiteY5" fmla="*/ 833437 h 833437"/>
                  <a:gd name="connsiteX6" fmla="*/ 0 w 3243981"/>
                  <a:gd name="connsiteY6" fmla="*/ 0 h 833437"/>
                  <a:gd name="connsiteX0" fmla="*/ 0 w 3233439"/>
                  <a:gd name="connsiteY0" fmla="*/ 0 h 833437"/>
                  <a:gd name="connsiteX1" fmla="*/ 2433159 w 3233439"/>
                  <a:gd name="connsiteY1" fmla="*/ 0 h 833437"/>
                  <a:gd name="connsiteX2" fmla="*/ 3215640 w 3233439"/>
                  <a:gd name="connsiteY2" fmla="*/ 531019 h 833437"/>
                  <a:gd name="connsiteX3" fmla="*/ 3047682 w 3233439"/>
                  <a:gd name="connsiteY3" fmla="*/ 528637 h 833437"/>
                  <a:gd name="connsiteX4" fmla="*/ 2433159 w 3233439"/>
                  <a:gd name="connsiteY4" fmla="*/ 833437 h 833437"/>
                  <a:gd name="connsiteX5" fmla="*/ 0 w 3233439"/>
                  <a:gd name="connsiteY5" fmla="*/ 833437 h 833437"/>
                  <a:gd name="connsiteX6" fmla="*/ 0 w 3233439"/>
                  <a:gd name="connsiteY6" fmla="*/ 0 h 833437"/>
                  <a:gd name="connsiteX0" fmla="*/ 0 w 3215999"/>
                  <a:gd name="connsiteY0" fmla="*/ 0 h 833437"/>
                  <a:gd name="connsiteX1" fmla="*/ 2433159 w 3215999"/>
                  <a:gd name="connsiteY1" fmla="*/ 0 h 833437"/>
                  <a:gd name="connsiteX2" fmla="*/ 3215640 w 3215999"/>
                  <a:gd name="connsiteY2" fmla="*/ 531019 h 833437"/>
                  <a:gd name="connsiteX3" fmla="*/ 3047682 w 3215999"/>
                  <a:gd name="connsiteY3" fmla="*/ 528637 h 833437"/>
                  <a:gd name="connsiteX4" fmla="*/ 2433159 w 3215999"/>
                  <a:gd name="connsiteY4" fmla="*/ 833437 h 833437"/>
                  <a:gd name="connsiteX5" fmla="*/ 0 w 3215999"/>
                  <a:gd name="connsiteY5" fmla="*/ 833437 h 833437"/>
                  <a:gd name="connsiteX6" fmla="*/ 0 w 3215999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9"/>
                  <a:gd name="connsiteY0" fmla="*/ 0 h 833437"/>
                  <a:gd name="connsiteX1" fmla="*/ 2433159 w 3336509"/>
                  <a:gd name="connsiteY1" fmla="*/ 0 h 833437"/>
                  <a:gd name="connsiteX2" fmla="*/ 3336290 w 3336509"/>
                  <a:gd name="connsiteY2" fmla="*/ 632619 h 833437"/>
                  <a:gd name="connsiteX3" fmla="*/ 3054032 w 3336509"/>
                  <a:gd name="connsiteY3" fmla="*/ 522287 h 833437"/>
                  <a:gd name="connsiteX4" fmla="*/ 2433159 w 3336509"/>
                  <a:gd name="connsiteY4" fmla="*/ 833437 h 833437"/>
                  <a:gd name="connsiteX5" fmla="*/ 0 w 3336509"/>
                  <a:gd name="connsiteY5" fmla="*/ 833437 h 833437"/>
                  <a:gd name="connsiteX6" fmla="*/ 0 w 3336509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336290 w 3336536"/>
                  <a:gd name="connsiteY2" fmla="*/ 632619 h 833437"/>
                  <a:gd name="connsiteX3" fmla="*/ 3054032 w 3336536"/>
                  <a:gd name="connsiteY3" fmla="*/ 522287 h 833437"/>
                  <a:gd name="connsiteX4" fmla="*/ 2433159 w 3336536"/>
                  <a:gd name="connsiteY4" fmla="*/ 833437 h 833437"/>
                  <a:gd name="connsiteX5" fmla="*/ 0 w 3336536"/>
                  <a:gd name="connsiteY5" fmla="*/ 833437 h 833437"/>
                  <a:gd name="connsiteX6" fmla="*/ 0 w 3336536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336290 w 3336536"/>
                  <a:gd name="connsiteY2" fmla="*/ 632619 h 833437"/>
                  <a:gd name="connsiteX3" fmla="*/ 3054032 w 3336536"/>
                  <a:gd name="connsiteY3" fmla="*/ 522287 h 833437"/>
                  <a:gd name="connsiteX4" fmla="*/ 2433159 w 3336536"/>
                  <a:gd name="connsiteY4" fmla="*/ 833437 h 833437"/>
                  <a:gd name="connsiteX5" fmla="*/ 0 w 3336536"/>
                  <a:gd name="connsiteY5" fmla="*/ 833437 h 833437"/>
                  <a:gd name="connsiteX6" fmla="*/ 0 w 3336536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326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326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453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453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94"/>
                  <a:gd name="connsiteY0" fmla="*/ 0 h 833437"/>
                  <a:gd name="connsiteX1" fmla="*/ 2433159 w 3336594"/>
                  <a:gd name="connsiteY1" fmla="*/ 0 h 833437"/>
                  <a:gd name="connsiteX2" fmla="*/ 3047681 w 3336594"/>
                  <a:gd name="connsiteY2" fmla="*/ 414337 h 833437"/>
                  <a:gd name="connsiteX3" fmla="*/ 3336290 w 3336594"/>
                  <a:gd name="connsiteY3" fmla="*/ 645319 h 833437"/>
                  <a:gd name="connsiteX4" fmla="*/ 3054032 w 3336594"/>
                  <a:gd name="connsiteY4" fmla="*/ 522287 h 833437"/>
                  <a:gd name="connsiteX5" fmla="*/ 2433159 w 3336594"/>
                  <a:gd name="connsiteY5" fmla="*/ 833437 h 833437"/>
                  <a:gd name="connsiteX6" fmla="*/ 0 w 3336594"/>
                  <a:gd name="connsiteY6" fmla="*/ 833437 h 833437"/>
                  <a:gd name="connsiteX7" fmla="*/ 0 w 3336594"/>
                  <a:gd name="connsiteY7" fmla="*/ 0 h 833437"/>
                  <a:gd name="connsiteX0" fmla="*/ 0 w 3336594"/>
                  <a:gd name="connsiteY0" fmla="*/ 0 h 833437"/>
                  <a:gd name="connsiteX1" fmla="*/ 2433159 w 3336594"/>
                  <a:gd name="connsiteY1" fmla="*/ 0 h 833437"/>
                  <a:gd name="connsiteX2" fmla="*/ 3047681 w 3336594"/>
                  <a:gd name="connsiteY2" fmla="*/ 414337 h 833437"/>
                  <a:gd name="connsiteX3" fmla="*/ 3336290 w 3336594"/>
                  <a:gd name="connsiteY3" fmla="*/ 645319 h 833437"/>
                  <a:gd name="connsiteX4" fmla="*/ 3054032 w 3336594"/>
                  <a:gd name="connsiteY4" fmla="*/ 522287 h 833437"/>
                  <a:gd name="connsiteX5" fmla="*/ 2433159 w 3336594"/>
                  <a:gd name="connsiteY5" fmla="*/ 833437 h 833437"/>
                  <a:gd name="connsiteX6" fmla="*/ 0 w 3336594"/>
                  <a:gd name="connsiteY6" fmla="*/ 833437 h 833437"/>
                  <a:gd name="connsiteX7" fmla="*/ 0 w 3336594"/>
                  <a:gd name="connsiteY7" fmla="*/ 0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36594" h="833437">
                    <a:moveTo>
                      <a:pt x="0" y="0"/>
                    </a:moveTo>
                    <a:lnTo>
                      <a:pt x="2433159" y="0"/>
                    </a:lnTo>
                    <a:cubicBezTo>
                      <a:pt x="2941106" y="69056"/>
                      <a:pt x="2897159" y="308900"/>
                      <a:pt x="3047681" y="414337"/>
                    </a:cubicBezTo>
                    <a:cubicBezTo>
                      <a:pt x="3198203" y="519774"/>
                      <a:pt x="3271732" y="592403"/>
                      <a:pt x="3336290" y="645319"/>
                    </a:cubicBezTo>
                    <a:cubicBezTo>
                      <a:pt x="3345577" y="667809"/>
                      <a:pt x="3139996" y="500459"/>
                      <a:pt x="3054032" y="522287"/>
                    </a:cubicBezTo>
                    <a:cubicBezTo>
                      <a:pt x="2783919" y="598090"/>
                      <a:pt x="2924173" y="805920"/>
                      <a:pt x="2433159" y="833437"/>
                    </a:cubicBezTo>
                    <a:lnTo>
                      <a:pt x="0" y="8334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3305" tIns="63305" rIns="63305" bIns="63305" rtlCol="0" anchor="ctr">
                <a:noAutofit/>
              </a:bodyPr>
              <a:lstStyle/>
              <a:p>
                <a:pPr algn="ctr"/>
                <a:endParaRPr lang="en-US" sz="96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" name="Pentagon 9">
                <a:extLst>
                  <a:ext uri="{FF2B5EF4-FFF2-40B4-BE49-F238E27FC236}">
                    <a16:creationId xmlns:a16="http://schemas.microsoft.com/office/drawing/2014/main" id="{2355B84B-0E77-45B2-BB08-8E2CC2E004D4}"/>
                  </a:ext>
                </a:extLst>
              </p:cNvPr>
              <p:cNvSpPr/>
              <p:nvPr/>
            </p:nvSpPr>
            <p:spPr>
              <a:xfrm>
                <a:off x="2971216" y="3834285"/>
                <a:ext cx="1383689" cy="576995"/>
              </a:xfrm>
              <a:custGeom>
                <a:avLst/>
                <a:gdLst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8662" h="833437">
                    <a:moveTo>
                      <a:pt x="0" y="0"/>
                    </a:moveTo>
                    <a:lnTo>
                      <a:pt x="1330487" y="0"/>
                    </a:lnTo>
                    <a:cubicBezTo>
                      <a:pt x="1576072" y="9366"/>
                      <a:pt x="1768317" y="453073"/>
                      <a:pt x="1998662" y="416719"/>
                    </a:cubicBezTo>
                    <a:cubicBezTo>
                      <a:pt x="1775937" y="555625"/>
                      <a:pt x="1614172" y="793591"/>
                      <a:pt x="1330487" y="833437"/>
                    </a:cubicBezTo>
                    <a:lnTo>
                      <a:pt x="0" y="8334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3305" tIns="63305" rIns="63305" bIns="63305" rtlCol="0" anchor="ctr">
                <a:noAutofit/>
              </a:bodyPr>
              <a:lstStyle/>
              <a:p>
                <a:pPr algn="ctr"/>
                <a:endParaRPr lang="en-US" sz="969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60" name="Pentagon 9">
                <a:extLst>
                  <a:ext uri="{FF2B5EF4-FFF2-40B4-BE49-F238E27FC236}">
                    <a16:creationId xmlns:a16="http://schemas.microsoft.com/office/drawing/2014/main" id="{0E70C109-0A13-457E-9107-1F9E21D743F3}"/>
                  </a:ext>
                </a:extLst>
              </p:cNvPr>
              <p:cNvSpPr/>
              <p:nvPr/>
            </p:nvSpPr>
            <p:spPr>
              <a:xfrm>
                <a:off x="2971216" y="4472497"/>
                <a:ext cx="1383689" cy="576995"/>
              </a:xfrm>
              <a:custGeom>
                <a:avLst/>
                <a:gdLst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  <a:gd name="connsiteX0" fmla="*/ 0 w 1998662"/>
                  <a:gd name="connsiteY0" fmla="*/ 0 h 833437"/>
                  <a:gd name="connsiteX1" fmla="*/ 1330487 w 1998662"/>
                  <a:gd name="connsiteY1" fmla="*/ 0 h 833437"/>
                  <a:gd name="connsiteX2" fmla="*/ 1998662 w 1998662"/>
                  <a:gd name="connsiteY2" fmla="*/ 416719 h 833437"/>
                  <a:gd name="connsiteX3" fmla="*/ 1330487 w 1998662"/>
                  <a:gd name="connsiteY3" fmla="*/ 833437 h 833437"/>
                  <a:gd name="connsiteX4" fmla="*/ 0 w 1998662"/>
                  <a:gd name="connsiteY4" fmla="*/ 833437 h 833437"/>
                  <a:gd name="connsiteX5" fmla="*/ 0 w 1998662"/>
                  <a:gd name="connsiteY5" fmla="*/ 0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98662" h="833437">
                    <a:moveTo>
                      <a:pt x="0" y="0"/>
                    </a:moveTo>
                    <a:lnTo>
                      <a:pt x="1330487" y="0"/>
                    </a:lnTo>
                    <a:cubicBezTo>
                      <a:pt x="1576072" y="9366"/>
                      <a:pt x="1768317" y="453073"/>
                      <a:pt x="1998662" y="416719"/>
                    </a:cubicBezTo>
                    <a:cubicBezTo>
                      <a:pt x="1775937" y="555625"/>
                      <a:pt x="1614172" y="793591"/>
                      <a:pt x="1330487" y="833437"/>
                    </a:cubicBezTo>
                    <a:lnTo>
                      <a:pt x="0" y="8334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3305" tIns="63305" rIns="63305" bIns="63305" rtlCol="0" anchor="ctr">
                <a:noAutofit/>
              </a:bodyPr>
              <a:lstStyle/>
              <a:p>
                <a:pPr algn="ctr"/>
                <a:endParaRPr lang="en-US" sz="969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Pentagon 12">
                <a:extLst>
                  <a:ext uri="{FF2B5EF4-FFF2-40B4-BE49-F238E27FC236}">
                    <a16:creationId xmlns:a16="http://schemas.microsoft.com/office/drawing/2014/main" id="{CBB24EB4-27BF-4A1B-990C-8B3CBE5E7AEB}"/>
                  </a:ext>
                </a:extLst>
              </p:cNvPr>
              <p:cNvSpPr/>
              <p:nvPr/>
            </p:nvSpPr>
            <p:spPr>
              <a:xfrm flipH="1">
                <a:off x="4160384" y="4472497"/>
                <a:ext cx="2309950" cy="576995"/>
              </a:xfrm>
              <a:custGeom>
                <a:avLst/>
                <a:gdLst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055620"/>
                  <a:gd name="connsiteY0" fmla="*/ 0 h 833437"/>
                  <a:gd name="connsiteX1" fmla="*/ 2433159 w 3055620"/>
                  <a:gd name="connsiteY1" fmla="*/ 0 h 833437"/>
                  <a:gd name="connsiteX2" fmla="*/ 3055620 w 3055620"/>
                  <a:gd name="connsiteY2" fmla="*/ 416719 h 833437"/>
                  <a:gd name="connsiteX3" fmla="*/ 2433159 w 3055620"/>
                  <a:gd name="connsiteY3" fmla="*/ 833437 h 833437"/>
                  <a:gd name="connsiteX4" fmla="*/ 0 w 3055620"/>
                  <a:gd name="connsiteY4" fmla="*/ 833437 h 833437"/>
                  <a:gd name="connsiteX5" fmla="*/ 0 w 3055620"/>
                  <a:gd name="connsiteY5" fmla="*/ 0 h 833437"/>
                  <a:gd name="connsiteX0" fmla="*/ 0 w 3215640"/>
                  <a:gd name="connsiteY0" fmla="*/ 0 h 833437"/>
                  <a:gd name="connsiteX1" fmla="*/ 2433159 w 3215640"/>
                  <a:gd name="connsiteY1" fmla="*/ 0 h 833437"/>
                  <a:gd name="connsiteX2" fmla="*/ 3215640 w 3215640"/>
                  <a:gd name="connsiteY2" fmla="*/ 531019 h 833437"/>
                  <a:gd name="connsiteX3" fmla="*/ 2433159 w 3215640"/>
                  <a:gd name="connsiteY3" fmla="*/ 833437 h 833437"/>
                  <a:gd name="connsiteX4" fmla="*/ 0 w 3215640"/>
                  <a:gd name="connsiteY4" fmla="*/ 833437 h 833437"/>
                  <a:gd name="connsiteX5" fmla="*/ 0 w 3215640"/>
                  <a:gd name="connsiteY5" fmla="*/ 0 h 833437"/>
                  <a:gd name="connsiteX0" fmla="*/ 0 w 3215640"/>
                  <a:gd name="connsiteY0" fmla="*/ 0 h 833437"/>
                  <a:gd name="connsiteX1" fmla="*/ 2433159 w 3215640"/>
                  <a:gd name="connsiteY1" fmla="*/ 0 h 833437"/>
                  <a:gd name="connsiteX2" fmla="*/ 3215640 w 3215640"/>
                  <a:gd name="connsiteY2" fmla="*/ 531019 h 833437"/>
                  <a:gd name="connsiteX3" fmla="*/ 2433159 w 3215640"/>
                  <a:gd name="connsiteY3" fmla="*/ 833437 h 833437"/>
                  <a:gd name="connsiteX4" fmla="*/ 0 w 3215640"/>
                  <a:gd name="connsiteY4" fmla="*/ 833437 h 833437"/>
                  <a:gd name="connsiteX5" fmla="*/ 0 w 3215640"/>
                  <a:gd name="connsiteY5" fmla="*/ 0 h 833437"/>
                  <a:gd name="connsiteX0" fmla="*/ 0 w 3234548"/>
                  <a:gd name="connsiteY0" fmla="*/ 0 h 833437"/>
                  <a:gd name="connsiteX1" fmla="*/ 2433159 w 3234548"/>
                  <a:gd name="connsiteY1" fmla="*/ 0 h 833437"/>
                  <a:gd name="connsiteX2" fmla="*/ 3215640 w 3234548"/>
                  <a:gd name="connsiteY2" fmla="*/ 531019 h 833437"/>
                  <a:gd name="connsiteX3" fmla="*/ 2946082 w 3234548"/>
                  <a:gd name="connsiteY3" fmla="*/ 668337 h 833437"/>
                  <a:gd name="connsiteX4" fmla="*/ 2433159 w 3234548"/>
                  <a:gd name="connsiteY4" fmla="*/ 833437 h 833437"/>
                  <a:gd name="connsiteX5" fmla="*/ 0 w 3234548"/>
                  <a:gd name="connsiteY5" fmla="*/ 833437 h 833437"/>
                  <a:gd name="connsiteX6" fmla="*/ 0 w 3234548"/>
                  <a:gd name="connsiteY6" fmla="*/ 0 h 833437"/>
                  <a:gd name="connsiteX0" fmla="*/ 0 w 3243981"/>
                  <a:gd name="connsiteY0" fmla="*/ 0 h 833437"/>
                  <a:gd name="connsiteX1" fmla="*/ 2433159 w 3243981"/>
                  <a:gd name="connsiteY1" fmla="*/ 0 h 833437"/>
                  <a:gd name="connsiteX2" fmla="*/ 3215640 w 3243981"/>
                  <a:gd name="connsiteY2" fmla="*/ 531019 h 833437"/>
                  <a:gd name="connsiteX3" fmla="*/ 3047682 w 3243981"/>
                  <a:gd name="connsiteY3" fmla="*/ 528637 h 833437"/>
                  <a:gd name="connsiteX4" fmla="*/ 2433159 w 3243981"/>
                  <a:gd name="connsiteY4" fmla="*/ 833437 h 833437"/>
                  <a:gd name="connsiteX5" fmla="*/ 0 w 3243981"/>
                  <a:gd name="connsiteY5" fmla="*/ 833437 h 833437"/>
                  <a:gd name="connsiteX6" fmla="*/ 0 w 3243981"/>
                  <a:gd name="connsiteY6" fmla="*/ 0 h 833437"/>
                  <a:gd name="connsiteX0" fmla="*/ 0 w 3233439"/>
                  <a:gd name="connsiteY0" fmla="*/ 0 h 833437"/>
                  <a:gd name="connsiteX1" fmla="*/ 2433159 w 3233439"/>
                  <a:gd name="connsiteY1" fmla="*/ 0 h 833437"/>
                  <a:gd name="connsiteX2" fmla="*/ 3215640 w 3233439"/>
                  <a:gd name="connsiteY2" fmla="*/ 531019 h 833437"/>
                  <a:gd name="connsiteX3" fmla="*/ 3047682 w 3233439"/>
                  <a:gd name="connsiteY3" fmla="*/ 528637 h 833437"/>
                  <a:gd name="connsiteX4" fmla="*/ 2433159 w 3233439"/>
                  <a:gd name="connsiteY4" fmla="*/ 833437 h 833437"/>
                  <a:gd name="connsiteX5" fmla="*/ 0 w 3233439"/>
                  <a:gd name="connsiteY5" fmla="*/ 833437 h 833437"/>
                  <a:gd name="connsiteX6" fmla="*/ 0 w 3233439"/>
                  <a:gd name="connsiteY6" fmla="*/ 0 h 833437"/>
                  <a:gd name="connsiteX0" fmla="*/ 0 w 3215999"/>
                  <a:gd name="connsiteY0" fmla="*/ 0 h 833437"/>
                  <a:gd name="connsiteX1" fmla="*/ 2433159 w 3215999"/>
                  <a:gd name="connsiteY1" fmla="*/ 0 h 833437"/>
                  <a:gd name="connsiteX2" fmla="*/ 3215640 w 3215999"/>
                  <a:gd name="connsiteY2" fmla="*/ 531019 h 833437"/>
                  <a:gd name="connsiteX3" fmla="*/ 3047682 w 3215999"/>
                  <a:gd name="connsiteY3" fmla="*/ 528637 h 833437"/>
                  <a:gd name="connsiteX4" fmla="*/ 2433159 w 3215999"/>
                  <a:gd name="connsiteY4" fmla="*/ 833437 h 833437"/>
                  <a:gd name="connsiteX5" fmla="*/ 0 w 3215999"/>
                  <a:gd name="connsiteY5" fmla="*/ 833437 h 833437"/>
                  <a:gd name="connsiteX6" fmla="*/ 0 w 3215999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5"/>
                  <a:gd name="connsiteY0" fmla="*/ 0 h 833437"/>
                  <a:gd name="connsiteX1" fmla="*/ 2433159 w 3336505"/>
                  <a:gd name="connsiteY1" fmla="*/ 0 h 833437"/>
                  <a:gd name="connsiteX2" fmla="*/ 3336290 w 3336505"/>
                  <a:gd name="connsiteY2" fmla="*/ 632619 h 833437"/>
                  <a:gd name="connsiteX3" fmla="*/ 3047682 w 3336505"/>
                  <a:gd name="connsiteY3" fmla="*/ 528637 h 833437"/>
                  <a:gd name="connsiteX4" fmla="*/ 2433159 w 3336505"/>
                  <a:gd name="connsiteY4" fmla="*/ 833437 h 833437"/>
                  <a:gd name="connsiteX5" fmla="*/ 0 w 3336505"/>
                  <a:gd name="connsiteY5" fmla="*/ 833437 h 833437"/>
                  <a:gd name="connsiteX6" fmla="*/ 0 w 3336505"/>
                  <a:gd name="connsiteY6" fmla="*/ 0 h 833437"/>
                  <a:gd name="connsiteX0" fmla="*/ 0 w 3336509"/>
                  <a:gd name="connsiteY0" fmla="*/ 0 h 833437"/>
                  <a:gd name="connsiteX1" fmla="*/ 2433159 w 3336509"/>
                  <a:gd name="connsiteY1" fmla="*/ 0 h 833437"/>
                  <a:gd name="connsiteX2" fmla="*/ 3336290 w 3336509"/>
                  <a:gd name="connsiteY2" fmla="*/ 632619 h 833437"/>
                  <a:gd name="connsiteX3" fmla="*/ 3054032 w 3336509"/>
                  <a:gd name="connsiteY3" fmla="*/ 522287 h 833437"/>
                  <a:gd name="connsiteX4" fmla="*/ 2433159 w 3336509"/>
                  <a:gd name="connsiteY4" fmla="*/ 833437 h 833437"/>
                  <a:gd name="connsiteX5" fmla="*/ 0 w 3336509"/>
                  <a:gd name="connsiteY5" fmla="*/ 833437 h 833437"/>
                  <a:gd name="connsiteX6" fmla="*/ 0 w 3336509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336290 w 3336536"/>
                  <a:gd name="connsiteY2" fmla="*/ 632619 h 833437"/>
                  <a:gd name="connsiteX3" fmla="*/ 3054032 w 3336536"/>
                  <a:gd name="connsiteY3" fmla="*/ 522287 h 833437"/>
                  <a:gd name="connsiteX4" fmla="*/ 2433159 w 3336536"/>
                  <a:gd name="connsiteY4" fmla="*/ 833437 h 833437"/>
                  <a:gd name="connsiteX5" fmla="*/ 0 w 3336536"/>
                  <a:gd name="connsiteY5" fmla="*/ 833437 h 833437"/>
                  <a:gd name="connsiteX6" fmla="*/ 0 w 3336536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336290 w 3336536"/>
                  <a:gd name="connsiteY2" fmla="*/ 632619 h 833437"/>
                  <a:gd name="connsiteX3" fmla="*/ 3054032 w 3336536"/>
                  <a:gd name="connsiteY3" fmla="*/ 522287 h 833437"/>
                  <a:gd name="connsiteX4" fmla="*/ 2433159 w 3336536"/>
                  <a:gd name="connsiteY4" fmla="*/ 833437 h 833437"/>
                  <a:gd name="connsiteX5" fmla="*/ 0 w 3336536"/>
                  <a:gd name="connsiteY5" fmla="*/ 833437 h 833437"/>
                  <a:gd name="connsiteX6" fmla="*/ 0 w 3336536"/>
                  <a:gd name="connsiteY6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326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326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453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36"/>
                  <a:gd name="connsiteY0" fmla="*/ 0 h 833437"/>
                  <a:gd name="connsiteX1" fmla="*/ 2433159 w 3336536"/>
                  <a:gd name="connsiteY1" fmla="*/ 0 h 833437"/>
                  <a:gd name="connsiteX2" fmla="*/ 3047681 w 3336536"/>
                  <a:gd name="connsiteY2" fmla="*/ 414337 h 833437"/>
                  <a:gd name="connsiteX3" fmla="*/ 3336290 w 3336536"/>
                  <a:gd name="connsiteY3" fmla="*/ 645319 h 833437"/>
                  <a:gd name="connsiteX4" fmla="*/ 3054032 w 3336536"/>
                  <a:gd name="connsiteY4" fmla="*/ 522287 h 833437"/>
                  <a:gd name="connsiteX5" fmla="*/ 2433159 w 3336536"/>
                  <a:gd name="connsiteY5" fmla="*/ 833437 h 833437"/>
                  <a:gd name="connsiteX6" fmla="*/ 0 w 3336536"/>
                  <a:gd name="connsiteY6" fmla="*/ 833437 h 833437"/>
                  <a:gd name="connsiteX7" fmla="*/ 0 w 3336536"/>
                  <a:gd name="connsiteY7" fmla="*/ 0 h 833437"/>
                  <a:gd name="connsiteX0" fmla="*/ 0 w 3336594"/>
                  <a:gd name="connsiteY0" fmla="*/ 0 h 833437"/>
                  <a:gd name="connsiteX1" fmla="*/ 2433159 w 3336594"/>
                  <a:gd name="connsiteY1" fmla="*/ 0 h 833437"/>
                  <a:gd name="connsiteX2" fmla="*/ 3047681 w 3336594"/>
                  <a:gd name="connsiteY2" fmla="*/ 414337 h 833437"/>
                  <a:gd name="connsiteX3" fmla="*/ 3336290 w 3336594"/>
                  <a:gd name="connsiteY3" fmla="*/ 645319 h 833437"/>
                  <a:gd name="connsiteX4" fmla="*/ 3054032 w 3336594"/>
                  <a:gd name="connsiteY4" fmla="*/ 522287 h 833437"/>
                  <a:gd name="connsiteX5" fmla="*/ 2433159 w 3336594"/>
                  <a:gd name="connsiteY5" fmla="*/ 833437 h 833437"/>
                  <a:gd name="connsiteX6" fmla="*/ 0 w 3336594"/>
                  <a:gd name="connsiteY6" fmla="*/ 833437 h 833437"/>
                  <a:gd name="connsiteX7" fmla="*/ 0 w 3336594"/>
                  <a:gd name="connsiteY7" fmla="*/ 0 h 833437"/>
                  <a:gd name="connsiteX0" fmla="*/ 0 w 3336594"/>
                  <a:gd name="connsiteY0" fmla="*/ 0 h 833437"/>
                  <a:gd name="connsiteX1" fmla="*/ 2433159 w 3336594"/>
                  <a:gd name="connsiteY1" fmla="*/ 0 h 833437"/>
                  <a:gd name="connsiteX2" fmla="*/ 3047681 w 3336594"/>
                  <a:gd name="connsiteY2" fmla="*/ 414337 h 833437"/>
                  <a:gd name="connsiteX3" fmla="*/ 3336290 w 3336594"/>
                  <a:gd name="connsiteY3" fmla="*/ 645319 h 833437"/>
                  <a:gd name="connsiteX4" fmla="*/ 3054032 w 3336594"/>
                  <a:gd name="connsiteY4" fmla="*/ 522287 h 833437"/>
                  <a:gd name="connsiteX5" fmla="*/ 2433159 w 3336594"/>
                  <a:gd name="connsiteY5" fmla="*/ 833437 h 833437"/>
                  <a:gd name="connsiteX6" fmla="*/ 0 w 3336594"/>
                  <a:gd name="connsiteY6" fmla="*/ 833437 h 833437"/>
                  <a:gd name="connsiteX7" fmla="*/ 0 w 3336594"/>
                  <a:gd name="connsiteY7" fmla="*/ 0 h 833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36594" h="833437">
                    <a:moveTo>
                      <a:pt x="0" y="0"/>
                    </a:moveTo>
                    <a:lnTo>
                      <a:pt x="2433159" y="0"/>
                    </a:lnTo>
                    <a:cubicBezTo>
                      <a:pt x="2941106" y="69056"/>
                      <a:pt x="2897159" y="308900"/>
                      <a:pt x="3047681" y="414337"/>
                    </a:cubicBezTo>
                    <a:cubicBezTo>
                      <a:pt x="3198203" y="519774"/>
                      <a:pt x="3271732" y="592403"/>
                      <a:pt x="3336290" y="645319"/>
                    </a:cubicBezTo>
                    <a:cubicBezTo>
                      <a:pt x="3345577" y="667809"/>
                      <a:pt x="3139996" y="500459"/>
                      <a:pt x="3054032" y="522287"/>
                    </a:cubicBezTo>
                    <a:cubicBezTo>
                      <a:pt x="2783919" y="598090"/>
                      <a:pt x="2924173" y="805920"/>
                      <a:pt x="2433159" y="833437"/>
                    </a:cubicBezTo>
                    <a:lnTo>
                      <a:pt x="0" y="8334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3305" tIns="63305" rIns="63305" bIns="63305" rtlCol="0" anchor="ctr">
                <a:noAutofit/>
              </a:bodyPr>
              <a:lstStyle/>
              <a:p>
                <a:pPr algn="ctr"/>
                <a:endParaRPr lang="en-US" sz="969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48E3DC60-DCE2-4948-84CF-67DB41A33E38}"/>
                  </a:ext>
                </a:extLst>
              </p:cNvPr>
              <p:cNvSpPr txBox="1"/>
              <p:nvPr/>
            </p:nvSpPr>
            <p:spPr>
              <a:xfrm>
                <a:off x="3028365" y="4518326"/>
                <a:ext cx="1119715" cy="46801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</a:rPr>
                  <a:t>Pruned Random Forest</a:t>
                </a:r>
              </a:p>
            </p:txBody>
          </p:sp>
          <p:sp>
            <p:nvSpPr>
              <p:cNvPr id="80" name="Half Frame 79">
                <a:extLst>
                  <a:ext uri="{FF2B5EF4-FFF2-40B4-BE49-F238E27FC236}">
                    <a16:creationId xmlns:a16="http://schemas.microsoft.com/office/drawing/2014/main" id="{60F59F05-2265-4CB1-94A0-30571A437B8B}"/>
                  </a:ext>
                </a:extLst>
              </p:cNvPr>
              <p:cNvSpPr/>
              <p:nvPr/>
            </p:nvSpPr>
            <p:spPr>
              <a:xfrm rot="8142470">
                <a:off x="4483043" y="4050727"/>
                <a:ext cx="162658" cy="178179"/>
              </a:xfrm>
              <a:prstGeom prst="halfFrame">
                <a:avLst>
                  <a:gd name="adj1" fmla="val 26576"/>
                  <a:gd name="adj2" fmla="val 25856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923" tIns="24923" rIns="24923" bIns="24923" rtlCol="0" anchor="ctr">
                <a:noAutofit/>
              </a:bodyPr>
              <a:lstStyle/>
              <a:p>
                <a:pPr algn="ctr"/>
                <a:endParaRPr lang="en-US" sz="969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79911BB4-BB21-4BEF-96F0-5F20CA096734}"/>
                  </a:ext>
                </a:extLst>
              </p:cNvPr>
              <p:cNvSpPr/>
              <p:nvPr/>
            </p:nvSpPr>
            <p:spPr>
              <a:xfrm>
                <a:off x="4817852" y="4012471"/>
                <a:ext cx="1471460" cy="277130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</a:rPr>
                  <a:t>AUC: 0.89</a:t>
                </a:r>
              </a:p>
              <a:p>
                <a:r>
                  <a:rPr lang="en-US" sz="1400" dirty="0">
                    <a:solidFill>
                      <a:schemeClr val="bg1"/>
                    </a:solidFill>
                  </a:rPr>
                  <a:t>F1 Score: 58</a:t>
                </a:r>
              </a:p>
            </p:txBody>
          </p:sp>
          <p:sp>
            <p:nvSpPr>
              <p:cNvPr id="82" name="Half Frame 81">
                <a:extLst>
                  <a:ext uri="{FF2B5EF4-FFF2-40B4-BE49-F238E27FC236}">
                    <a16:creationId xmlns:a16="http://schemas.microsoft.com/office/drawing/2014/main" id="{D059C79E-85EF-461D-BF08-FE7CE7B08A55}"/>
                  </a:ext>
                </a:extLst>
              </p:cNvPr>
              <p:cNvSpPr/>
              <p:nvPr/>
            </p:nvSpPr>
            <p:spPr>
              <a:xfrm rot="8142470">
                <a:off x="4473434" y="4688940"/>
                <a:ext cx="162658" cy="178179"/>
              </a:xfrm>
              <a:prstGeom prst="halfFrame">
                <a:avLst>
                  <a:gd name="adj1" fmla="val 26576"/>
                  <a:gd name="adj2" fmla="val 25856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923" tIns="24923" rIns="24923" bIns="24923" rtlCol="0" anchor="ctr">
                <a:noAutofit/>
              </a:bodyPr>
              <a:lstStyle/>
              <a:p>
                <a:pPr algn="ctr"/>
                <a:endParaRPr lang="en-US" sz="969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D38E44A6-12B4-4B35-8F00-73CF452A50FD}"/>
                  </a:ext>
                </a:extLst>
              </p:cNvPr>
              <p:cNvSpPr/>
              <p:nvPr/>
            </p:nvSpPr>
            <p:spPr>
              <a:xfrm>
                <a:off x="4802357" y="4642312"/>
                <a:ext cx="1655673" cy="373409"/>
              </a:xfrm>
              <a:prstGeom prst="rect">
                <a:avLst/>
              </a:prstGeom>
            </p:spPr>
            <p:txBody>
              <a:bodyPr wrap="square" lIns="0" tIns="0" rIns="0" bIns="0">
                <a:no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</a:rPr>
                  <a:t>AUC: 0.92</a:t>
                </a:r>
              </a:p>
              <a:p>
                <a:r>
                  <a:rPr lang="en-US" sz="1400" dirty="0">
                    <a:solidFill>
                      <a:schemeClr val="bg1"/>
                    </a:solidFill>
                  </a:rPr>
                  <a:t>F1 Score: 72</a:t>
                </a: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C05057D-A276-4D1E-9523-D98744E3915C}"/>
                </a:ext>
              </a:extLst>
            </p:cNvPr>
            <p:cNvSpPr txBox="1"/>
            <p:nvPr/>
          </p:nvSpPr>
          <p:spPr>
            <a:xfrm>
              <a:off x="3370182" y="5071990"/>
              <a:ext cx="1020344" cy="47631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Baseline Decision Tree</a:t>
              </a: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3DDC8576-B051-4076-A592-797CABBAF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449" y="1172312"/>
            <a:ext cx="5749754" cy="647475"/>
          </a:xfrm>
          <a:prstGeom prst="rect">
            <a:avLst/>
          </a:prstGeom>
          <a:solidFill>
            <a:schemeClr val="accent1">
              <a:alpha val="1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6675" tIns="66675" rIns="66675" bIns="66675" anchor="t"/>
          <a:lstStyle/>
          <a:p>
            <a:pPr defTabSz="718499">
              <a:spcBef>
                <a:spcPts val="225"/>
              </a:spcBef>
              <a:defRPr/>
            </a:pPr>
            <a:r>
              <a:rPr lang="en-US" sz="900" u="sng" dirty="0">
                <a:latin typeface="-apple-system"/>
              </a:rPr>
              <a:t>Accuracy</a:t>
            </a:r>
            <a:r>
              <a:rPr lang="en-US" sz="900" dirty="0">
                <a:latin typeface="-apple-system"/>
              </a:rPr>
              <a:t>: The number of true predictions over the number of predictions.</a:t>
            </a:r>
          </a:p>
          <a:p>
            <a:pPr defTabSz="718499">
              <a:spcBef>
                <a:spcPts val="225"/>
              </a:spcBef>
              <a:defRPr/>
            </a:pPr>
            <a:r>
              <a:rPr lang="en-US" sz="900" u="sng" dirty="0">
                <a:latin typeface="-apple-system"/>
              </a:rPr>
              <a:t>Area Under the Curve (AUC):</a:t>
            </a:r>
            <a:r>
              <a:rPr lang="en-US" sz="900" dirty="0">
                <a:latin typeface="-apple-system"/>
              </a:rPr>
              <a:t> The aggregate measure of performance across all possible classification thresholds.</a:t>
            </a:r>
          </a:p>
          <a:p>
            <a:pPr defTabSz="718499">
              <a:spcBef>
                <a:spcPts val="225"/>
              </a:spcBef>
              <a:defRPr/>
            </a:pPr>
            <a:r>
              <a:rPr lang="en-US" sz="900" u="sng" dirty="0">
                <a:latin typeface="-apple-system"/>
              </a:rPr>
              <a:t>F1 Score:</a:t>
            </a:r>
            <a:r>
              <a:rPr lang="en-US" sz="900" dirty="0">
                <a:latin typeface="-apple-system"/>
              </a:rPr>
              <a:t> The harmonic mean of precision and recall.</a:t>
            </a:r>
            <a:endParaRPr lang="en-US" sz="900" u="sng" dirty="0"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7C336E-7564-4494-8C37-A28E32D8EC7C}"/>
              </a:ext>
            </a:extLst>
          </p:cNvPr>
          <p:cNvGrpSpPr/>
          <p:nvPr/>
        </p:nvGrpSpPr>
        <p:grpSpPr>
          <a:xfrm>
            <a:off x="151125" y="985699"/>
            <a:ext cx="8273731" cy="1020702"/>
            <a:chOff x="210393" y="738789"/>
            <a:chExt cx="8179460" cy="1020702"/>
          </a:xfrm>
        </p:grpSpPr>
        <p:sp>
          <p:nvSpPr>
            <p:cNvPr id="86" name="Chevron 15">
              <a:extLst>
                <a:ext uri="{FF2B5EF4-FFF2-40B4-BE49-F238E27FC236}">
                  <a16:creationId xmlns:a16="http://schemas.microsoft.com/office/drawing/2014/main" id="{F83566E7-3DB4-4941-AB74-EBFC5652FED3}"/>
                </a:ext>
              </a:extLst>
            </p:cNvPr>
            <p:cNvSpPr/>
            <p:nvPr/>
          </p:nvSpPr>
          <p:spPr>
            <a:xfrm>
              <a:off x="733620" y="757643"/>
              <a:ext cx="7656233" cy="985337"/>
            </a:xfrm>
            <a:prstGeom prst="chevron">
              <a:avLst/>
            </a:prstGeom>
            <a:noFill/>
            <a:ln w="19050">
              <a:solidFill>
                <a:srgbClr val="BB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66675" rIns="66675" bIns="66675" rtlCol="0" anchor="ctr"/>
            <a:lstStyle/>
            <a:p>
              <a:endParaRPr lang="en-US" sz="975" dirty="0">
                <a:solidFill>
                  <a:schemeClr val="tx1"/>
                </a:solidFill>
              </a:endParaRPr>
            </a:p>
          </p:txBody>
        </p:sp>
        <p:pic>
          <p:nvPicPr>
            <p:cNvPr id="85" name="Picture 84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89FE39B2-8E04-4E65-84FD-486DD03CEB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222" t="6226" r="6231" b="6226"/>
            <a:stretch/>
          </p:blipFill>
          <p:spPr>
            <a:xfrm>
              <a:off x="210393" y="738789"/>
              <a:ext cx="1020702" cy="1020702"/>
            </a:xfrm>
            <a:prstGeom prst="ellipse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ADF4458-6FAB-4A1E-94BD-DBA01C244B68}"/>
              </a:ext>
            </a:extLst>
          </p:cNvPr>
          <p:cNvGrpSpPr/>
          <p:nvPr/>
        </p:nvGrpSpPr>
        <p:grpSpPr>
          <a:xfrm>
            <a:off x="659653" y="2202956"/>
            <a:ext cx="4774181" cy="3320961"/>
            <a:chOff x="382281" y="2686479"/>
            <a:chExt cx="4774181" cy="3320961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CD9DB424-C6CC-46F5-8CCB-DC37C847B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81" y="2971184"/>
              <a:ext cx="4757248" cy="3036256"/>
            </a:xfrm>
            <a:prstGeom prst="rect">
              <a:avLst/>
            </a:prstGeom>
            <a:solidFill>
              <a:schemeClr val="bg1">
                <a:lumMod val="85000"/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defTabSz="718499">
                <a:spcBef>
                  <a:spcPts val="225"/>
                </a:spcBef>
                <a:defRPr/>
              </a:pPr>
              <a:endParaRPr lang="en-US" sz="1000" dirty="0">
                <a:latin typeface="+mj-lt"/>
              </a:endParaRPr>
            </a:p>
          </p:txBody>
        </p:sp>
        <p:sp>
          <p:nvSpPr>
            <p:cNvPr id="89" name="Text Box 10">
              <a:extLst>
                <a:ext uri="{FF2B5EF4-FFF2-40B4-BE49-F238E27FC236}">
                  <a16:creationId xmlns:a16="http://schemas.microsoft.com/office/drawing/2014/main" id="{C3800067-FA04-4C5F-87F6-F8B62A844E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9214" y="2686479"/>
              <a:ext cx="4757248" cy="284705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Result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DB0F162-ADB3-4286-A5DA-E3F9F7841614}"/>
              </a:ext>
            </a:extLst>
          </p:cNvPr>
          <p:cNvGrpSpPr/>
          <p:nvPr/>
        </p:nvGrpSpPr>
        <p:grpSpPr>
          <a:xfrm>
            <a:off x="6140642" y="3100090"/>
            <a:ext cx="2520758" cy="984789"/>
            <a:chOff x="4946842" y="2343431"/>
            <a:chExt cx="3796446" cy="984789"/>
          </a:xfrm>
        </p:grpSpPr>
        <p:sp>
          <p:nvSpPr>
            <p:cNvPr id="24" name="Text Box 10">
              <a:extLst>
                <a:ext uri="{FF2B5EF4-FFF2-40B4-BE49-F238E27FC236}">
                  <a16:creationId xmlns:a16="http://schemas.microsoft.com/office/drawing/2014/main" id="{47EE6968-D71B-4F0A-85C3-E864CF45A3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46842" y="2343431"/>
              <a:ext cx="3796446" cy="265023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Higher Performance and Less Complexity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CABCEAD-58A8-4666-AE7A-506D7DE86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6842" y="2570965"/>
              <a:ext cx="3796446" cy="757255"/>
            </a:xfrm>
            <a:prstGeom prst="rect">
              <a:avLst/>
            </a:prstGeom>
            <a:solidFill>
              <a:schemeClr val="accent1"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defTabSz="718499">
                <a:spcBef>
                  <a:spcPts val="225"/>
                </a:spcBef>
                <a:defRPr/>
              </a:pPr>
              <a:r>
                <a:rPr lang="en-US" sz="1000" dirty="0">
                  <a:latin typeface="+mj-lt"/>
                </a:rPr>
                <a:t>The pruned random forest model only utilized the </a:t>
              </a:r>
              <a:r>
                <a:rPr lang="en-US" sz="1000" b="1" dirty="0">
                  <a:latin typeface="+mj-lt"/>
                </a:rPr>
                <a:t>top six performing features </a:t>
              </a:r>
              <a:r>
                <a:rPr lang="en-US" sz="1000" dirty="0">
                  <a:latin typeface="+mj-lt"/>
                </a:rPr>
                <a:t>from the vanilla random forest model, while the baseline decision tree utilized all 30 featur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868724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91525" cy="757255"/>
          </a:xfr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The model was most likely overfitting and had a false positive rate of 0.00165 and a false negative rate of 3.5e-4.</a:t>
            </a:r>
          </a:p>
          <a:p>
            <a:pPr>
              <a:spcAft>
                <a:spcPts val="600"/>
              </a:spcAft>
            </a:pP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 anchor="t">
            <a:normAutofit/>
          </a:bodyPr>
          <a:lstStyle/>
          <a:p>
            <a:r>
              <a:rPr lang="en-US" b="1" dirty="0"/>
              <a:t>Baseline Decision Tree Model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816A057D-CB83-4988-8B3C-F7702EC23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11" y="1106428"/>
            <a:ext cx="4471890" cy="4684772"/>
          </a:xfrm>
          <a:prstGeom prst="rect">
            <a:avLst/>
          </a:prstGeom>
        </p:spPr>
      </p:pic>
      <p:pic>
        <p:nvPicPr>
          <p:cNvPr id="6" name="Picture 5" descr="Chart, treemap chart&#10;&#10;Description automatically generated">
            <a:extLst>
              <a:ext uri="{FF2B5EF4-FFF2-40B4-BE49-F238E27FC236}">
                <a16:creationId xmlns:a16="http://schemas.microsoft.com/office/drawing/2014/main" id="{2C171741-B648-4FC4-A5D6-21A5907BC9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8127" y="1030227"/>
            <a:ext cx="3567739" cy="2302503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DF38EC86-4EEE-4EA2-9571-6B40BF725967}"/>
              </a:ext>
            </a:extLst>
          </p:cNvPr>
          <p:cNvGrpSpPr/>
          <p:nvPr/>
        </p:nvGrpSpPr>
        <p:grpSpPr>
          <a:xfrm>
            <a:off x="4848127" y="4022097"/>
            <a:ext cx="3736054" cy="2302503"/>
            <a:chOff x="5031709" y="3833276"/>
            <a:chExt cx="4100226" cy="239492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F6201C1-8B6A-4AA7-8E9E-F3166ECF00CB}"/>
                </a:ext>
              </a:extLst>
            </p:cNvPr>
            <p:cNvGrpSpPr/>
            <p:nvPr/>
          </p:nvGrpSpPr>
          <p:grpSpPr>
            <a:xfrm>
              <a:off x="5031709" y="3833276"/>
              <a:ext cx="1135411" cy="1044042"/>
              <a:chOff x="5341589" y="3722690"/>
              <a:chExt cx="2219144" cy="1924218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1543241-222C-4917-B42C-98BCC38F49A2}"/>
                  </a:ext>
                </a:extLst>
              </p:cNvPr>
              <p:cNvSpPr/>
              <p:nvPr/>
            </p:nvSpPr>
            <p:spPr bwMode="gray">
              <a:xfrm>
                <a:off x="5470770" y="3803046"/>
                <a:ext cx="2089963" cy="184386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99.8%</a:t>
                </a:r>
              </a:p>
            </p:txBody>
          </p:sp>
          <p:sp>
            <p:nvSpPr>
              <p:cNvPr id="14" name="TextBox 30">
                <a:extLst>
                  <a:ext uri="{FF2B5EF4-FFF2-40B4-BE49-F238E27FC236}">
                    <a16:creationId xmlns:a16="http://schemas.microsoft.com/office/drawing/2014/main" id="{7E983A44-A57C-458F-BD14-6C337D5E51FE}"/>
                  </a:ext>
                </a:extLst>
              </p:cNvPr>
              <p:cNvSpPr txBox="1"/>
              <p:nvPr/>
            </p:nvSpPr>
            <p:spPr>
              <a:xfrm>
                <a:off x="5341589" y="3722690"/>
                <a:ext cx="2219144" cy="1924216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1715203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400" b="1" dirty="0">
                    <a:solidFill>
                      <a:schemeClr val="accent1"/>
                    </a:solidFill>
                  </a:rPr>
                  <a:t>Accuracy</a:t>
                </a:r>
                <a:endParaRPr lang="en-GB" sz="11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99A1700-2341-4DED-87F9-43EAA456B6C1}"/>
                </a:ext>
              </a:extLst>
            </p:cNvPr>
            <p:cNvGrpSpPr/>
            <p:nvPr/>
          </p:nvGrpSpPr>
          <p:grpSpPr>
            <a:xfrm>
              <a:off x="6487976" y="3855077"/>
              <a:ext cx="1120171" cy="1059281"/>
              <a:chOff x="6457496" y="3870317"/>
              <a:chExt cx="1120171" cy="1059281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F2B0C-D126-4CAF-8DC3-8B7D93FD4EDB}"/>
                  </a:ext>
                </a:extLst>
              </p:cNvPr>
              <p:cNvSpPr/>
              <p:nvPr/>
            </p:nvSpPr>
            <p:spPr bwMode="gray">
              <a:xfrm>
                <a:off x="6508351" y="3929156"/>
                <a:ext cx="1069316" cy="100044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47</a:t>
                </a:r>
              </a:p>
            </p:txBody>
          </p:sp>
          <p:sp>
            <p:nvSpPr>
              <p:cNvPr id="19" name="TextBox 30">
                <a:extLst>
                  <a:ext uri="{FF2B5EF4-FFF2-40B4-BE49-F238E27FC236}">
                    <a16:creationId xmlns:a16="http://schemas.microsoft.com/office/drawing/2014/main" id="{D417DDBD-F9D6-41EF-B74A-7C01C9137E31}"/>
                  </a:ext>
                </a:extLst>
              </p:cNvPr>
              <p:cNvSpPr txBox="1"/>
              <p:nvPr/>
            </p:nvSpPr>
            <p:spPr>
              <a:xfrm>
                <a:off x="6457496" y="3870317"/>
                <a:ext cx="1120171" cy="1000442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1715203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400" b="1" dirty="0">
                    <a:solidFill>
                      <a:schemeClr val="accent1"/>
                    </a:solidFill>
                  </a:rPr>
                  <a:t>Precision</a:t>
                </a:r>
                <a:endParaRPr lang="en-GB" sz="11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66CF653-3E40-4D9A-B344-4EC6F5230104}"/>
                </a:ext>
              </a:extLst>
            </p:cNvPr>
            <p:cNvGrpSpPr/>
            <p:nvPr/>
          </p:nvGrpSpPr>
          <p:grpSpPr>
            <a:xfrm>
              <a:off x="5701424" y="5162359"/>
              <a:ext cx="1135410" cy="1044041"/>
              <a:chOff x="4939424" y="5162359"/>
              <a:chExt cx="1135410" cy="1044041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E0D0D3A7-022B-4242-BB1D-258336044ED3}"/>
                  </a:ext>
                </a:extLst>
              </p:cNvPr>
              <p:cNvSpPr/>
              <p:nvPr/>
            </p:nvSpPr>
            <p:spPr bwMode="gray">
              <a:xfrm>
                <a:off x="5005518" y="5205958"/>
                <a:ext cx="1069316" cy="100044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58</a:t>
                </a:r>
              </a:p>
            </p:txBody>
          </p:sp>
          <p:sp>
            <p:nvSpPr>
              <p:cNvPr id="25" name="TextBox 30">
                <a:extLst>
                  <a:ext uri="{FF2B5EF4-FFF2-40B4-BE49-F238E27FC236}">
                    <a16:creationId xmlns:a16="http://schemas.microsoft.com/office/drawing/2014/main" id="{659D75D4-6496-4B7B-B997-23DBE59A00A1}"/>
                  </a:ext>
                </a:extLst>
              </p:cNvPr>
              <p:cNvSpPr txBox="1"/>
              <p:nvPr/>
            </p:nvSpPr>
            <p:spPr>
              <a:xfrm>
                <a:off x="4939424" y="5162359"/>
                <a:ext cx="1069316" cy="959042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1715203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400" b="1" dirty="0">
                    <a:solidFill>
                      <a:schemeClr val="accent1"/>
                    </a:solidFill>
                  </a:rPr>
                  <a:t>F1 Score</a:t>
                </a:r>
                <a:endParaRPr lang="en-GB" sz="11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EF15DA9-A14E-4FD0-913B-2257F21801D1}"/>
                </a:ext>
              </a:extLst>
            </p:cNvPr>
            <p:cNvGrpSpPr/>
            <p:nvPr/>
          </p:nvGrpSpPr>
          <p:grpSpPr>
            <a:xfrm>
              <a:off x="7195293" y="5184159"/>
              <a:ext cx="1199408" cy="1044041"/>
              <a:chOff x="6433293" y="5184159"/>
              <a:chExt cx="1199408" cy="1044041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A5B47EF6-FF05-443F-8BE3-23DD8B4CE2A0}"/>
                  </a:ext>
                </a:extLst>
              </p:cNvPr>
              <p:cNvSpPr/>
              <p:nvPr/>
            </p:nvSpPr>
            <p:spPr bwMode="gray">
              <a:xfrm>
                <a:off x="6499387" y="5227758"/>
                <a:ext cx="1069316" cy="100044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0.89</a:t>
                </a:r>
              </a:p>
            </p:txBody>
          </p:sp>
          <p:sp>
            <p:nvSpPr>
              <p:cNvPr id="28" name="TextBox 30">
                <a:extLst>
                  <a:ext uri="{FF2B5EF4-FFF2-40B4-BE49-F238E27FC236}">
                    <a16:creationId xmlns:a16="http://schemas.microsoft.com/office/drawing/2014/main" id="{E26D3D59-51D4-4B9A-8A82-3EEBF846D909}"/>
                  </a:ext>
                </a:extLst>
              </p:cNvPr>
              <p:cNvSpPr txBox="1"/>
              <p:nvPr/>
            </p:nvSpPr>
            <p:spPr>
              <a:xfrm>
                <a:off x="6433293" y="5184159"/>
                <a:ext cx="1199408" cy="959042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1715203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400" b="1" dirty="0">
                    <a:solidFill>
                      <a:schemeClr val="accent1"/>
                    </a:solidFill>
                  </a:rPr>
                  <a:t>AUC</a:t>
                </a:r>
                <a:endParaRPr lang="en-GB" sz="1100" b="1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0AAAB90-8BE2-4B4C-B640-C6AAB7D26899}"/>
                </a:ext>
              </a:extLst>
            </p:cNvPr>
            <p:cNvGrpSpPr/>
            <p:nvPr/>
          </p:nvGrpSpPr>
          <p:grpSpPr>
            <a:xfrm>
              <a:off x="7909120" y="3875816"/>
              <a:ext cx="1222815" cy="1082142"/>
              <a:chOff x="7878640" y="3891056"/>
              <a:chExt cx="1222815" cy="108214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7F6F51A-3926-40BA-A8E1-2D0CC462CE44}"/>
                  </a:ext>
                </a:extLst>
              </p:cNvPr>
              <p:cNvSpPr/>
              <p:nvPr/>
            </p:nvSpPr>
            <p:spPr bwMode="gray">
              <a:xfrm>
                <a:off x="7914255" y="3972756"/>
                <a:ext cx="1069316" cy="100044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GB" b="1" dirty="0">
                    <a:solidFill>
                      <a:schemeClr val="bg1"/>
                    </a:solidFill>
                  </a:rPr>
                  <a:t>78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B2AC918-DB3C-4B85-B94D-1F2465CAE575}"/>
                  </a:ext>
                </a:extLst>
              </p:cNvPr>
              <p:cNvSpPr txBox="1"/>
              <p:nvPr/>
            </p:nvSpPr>
            <p:spPr>
              <a:xfrm>
                <a:off x="7878640" y="3891056"/>
                <a:ext cx="1222815" cy="1044041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1715203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400" b="1" dirty="0">
                    <a:solidFill>
                      <a:schemeClr val="accent1"/>
                    </a:solidFill>
                  </a:rPr>
                  <a:t>Recall</a:t>
                </a:r>
                <a:endParaRPr lang="en-GB" sz="1100" b="1" dirty="0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5145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CE08153A-4502-4646-B376-03F53B0DD1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21" y="1181585"/>
            <a:ext cx="4756434" cy="4494830"/>
          </a:xfrm>
          <a:prstGeom prst="rect">
            <a:avLst/>
          </a:prstGeom>
          <a:noFill/>
        </p:spPr>
      </p:pic>
      <p:pic>
        <p:nvPicPr>
          <p:cNvPr id="5" name="Picture 4" descr="Chart, treemap chart&#10;&#10;Description automatically generated">
            <a:extLst>
              <a:ext uri="{FF2B5EF4-FFF2-40B4-BE49-F238E27FC236}">
                <a16:creationId xmlns:a16="http://schemas.microsoft.com/office/drawing/2014/main" id="{DE018523-151C-4561-88A6-89F98740F3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660" y="1181585"/>
            <a:ext cx="4093506" cy="2442148"/>
          </a:xfrm>
          <a:prstGeom prst="rect">
            <a:avLst/>
          </a:prstGeom>
          <a:noFill/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91525" cy="757255"/>
          </a:xfr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The model was less complex and had a false positive rate of 8.4e-4 and false negative rate of 2.6e-4. </a:t>
            </a:r>
          </a:p>
          <a:p>
            <a:pPr>
              <a:spcAft>
                <a:spcPts val="600"/>
              </a:spcAft>
            </a:pPr>
            <a:endParaRPr lang="en-US" sz="1400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 anchor="t">
            <a:normAutofit/>
          </a:bodyPr>
          <a:lstStyle/>
          <a:p>
            <a:r>
              <a:rPr lang="en-US" b="1" dirty="0"/>
              <a:t>Pruned Random Forest Model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5E253BE-4CD2-4C66-9CE9-F809BD53E159}"/>
              </a:ext>
            </a:extLst>
          </p:cNvPr>
          <p:cNvSpPr/>
          <p:nvPr/>
        </p:nvSpPr>
        <p:spPr bwMode="gray">
          <a:xfrm>
            <a:off x="5115610" y="3945814"/>
            <a:ext cx="974343" cy="96183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b="1" dirty="0">
                <a:solidFill>
                  <a:schemeClr val="bg1"/>
                </a:solidFill>
              </a:rPr>
              <a:t>99.9%</a:t>
            </a:r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BEDC0D0A-6159-4AC7-BA51-0CE802012CCD}"/>
              </a:ext>
            </a:extLst>
          </p:cNvPr>
          <p:cNvSpPr txBox="1"/>
          <p:nvPr/>
        </p:nvSpPr>
        <p:spPr>
          <a:xfrm>
            <a:off x="5074438" y="3884845"/>
            <a:ext cx="1066569" cy="961835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1715203"/>
              </a:avLst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chemeClr val="accent1"/>
                </a:solidFill>
              </a:rPr>
              <a:t>Accuracy</a:t>
            </a:r>
            <a:endParaRPr lang="en-GB" sz="1100" b="1" dirty="0">
              <a:solidFill>
                <a:schemeClr val="accent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121882A-0A25-446B-B3F2-CEB42D4E4CBF}"/>
              </a:ext>
            </a:extLst>
          </p:cNvPr>
          <p:cNvSpPr/>
          <p:nvPr/>
        </p:nvSpPr>
        <p:spPr bwMode="gray">
          <a:xfrm>
            <a:off x="6428649" y="3981425"/>
            <a:ext cx="974342" cy="96183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b="1" dirty="0">
                <a:solidFill>
                  <a:schemeClr val="bg1"/>
                </a:solidFill>
              </a:rPr>
              <a:t>63</a:t>
            </a:r>
          </a:p>
        </p:txBody>
      </p:sp>
      <p:sp>
        <p:nvSpPr>
          <p:cNvPr id="27" name="TextBox 30">
            <a:extLst>
              <a:ext uri="{FF2B5EF4-FFF2-40B4-BE49-F238E27FC236}">
                <a16:creationId xmlns:a16="http://schemas.microsoft.com/office/drawing/2014/main" id="{2E06A224-D98D-42FF-99AC-4CC2957AFEF4}"/>
              </a:ext>
            </a:extLst>
          </p:cNvPr>
          <p:cNvSpPr txBox="1"/>
          <p:nvPr/>
        </p:nvSpPr>
        <p:spPr>
          <a:xfrm>
            <a:off x="6382311" y="3924858"/>
            <a:ext cx="1020680" cy="1018402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1715203"/>
              </a:avLst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chemeClr val="accent1"/>
                </a:solidFill>
              </a:rPr>
              <a:t>Precision</a:t>
            </a:r>
            <a:endParaRPr lang="en-GB" sz="1100" b="1" dirty="0">
              <a:solidFill>
                <a:schemeClr val="accent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D9187CD-58EA-48BA-88EC-72D19EB7330C}"/>
              </a:ext>
            </a:extLst>
          </p:cNvPr>
          <p:cNvSpPr/>
          <p:nvPr/>
        </p:nvSpPr>
        <p:spPr bwMode="gray">
          <a:xfrm>
            <a:off x="5725843" y="5223606"/>
            <a:ext cx="974342" cy="96183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b="1" dirty="0">
                <a:solidFill>
                  <a:schemeClr val="bg1"/>
                </a:solidFill>
              </a:rPr>
              <a:t>72</a:t>
            </a:r>
          </a:p>
        </p:txBody>
      </p:sp>
      <p:sp>
        <p:nvSpPr>
          <p:cNvPr id="25" name="TextBox 30">
            <a:extLst>
              <a:ext uri="{FF2B5EF4-FFF2-40B4-BE49-F238E27FC236}">
                <a16:creationId xmlns:a16="http://schemas.microsoft.com/office/drawing/2014/main" id="{61897540-A38B-467D-8FE4-209D62C90F0D}"/>
              </a:ext>
            </a:extLst>
          </p:cNvPr>
          <p:cNvSpPr txBox="1"/>
          <p:nvPr/>
        </p:nvSpPr>
        <p:spPr>
          <a:xfrm>
            <a:off x="5665619" y="5181689"/>
            <a:ext cx="1125706" cy="1018401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1715203"/>
              </a:avLst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chemeClr val="accent1"/>
                </a:solidFill>
              </a:rPr>
              <a:t>F1 Score</a:t>
            </a:r>
            <a:endParaRPr lang="en-GB" sz="1100" b="1" dirty="0">
              <a:solidFill>
                <a:schemeClr val="accent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DC1992F-858F-4F5F-8A51-0EA047D6C1EE}"/>
              </a:ext>
            </a:extLst>
          </p:cNvPr>
          <p:cNvSpPr/>
          <p:nvPr/>
        </p:nvSpPr>
        <p:spPr bwMode="gray">
          <a:xfrm>
            <a:off x="7087030" y="5244565"/>
            <a:ext cx="974342" cy="96183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b="1" dirty="0">
                <a:solidFill>
                  <a:schemeClr val="bg1"/>
                </a:solidFill>
              </a:rPr>
              <a:t>0.92</a:t>
            </a:r>
          </a:p>
        </p:txBody>
      </p:sp>
      <p:sp>
        <p:nvSpPr>
          <p:cNvPr id="23" name="TextBox 30">
            <a:extLst>
              <a:ext uri="{FF2B5EF4-FFF2-40B4-BE49-F238E27FC236}">
                <a16:creationId xmlns:a16="http://schemas.microsoft.com/office/drawing/2014/main" id="{47064EF5-44BB-42F5-966A-FBD2B7EA6860}"/>
              </a:ext>
            </a:extLst>
          </p:cNvPr>
          <p:cNvSpPr txBox="1"/>
          <p:nvPr/>
        </p:nvSpPr>
        <p:spPr>
          <a:xfrm>
            <a:off x="7026806" y="5202649"/>
            <a:ext cx="1159932" cy="1018401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1715203"/>
              </a:avLst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chemeClr val="accent1"/>
                </a:solidFill>
              </a:rPr>
              <a:t>AUC</a:t>
            </a:r>
            <a:endParaRPr lang="en-GB" sz="1100" b="1" dirty="0">
              <a:solidFill>
                <a:schemeClr val="accent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12030CE-9019-4996-926F-124E1159D79E}"/>
              </a:ext>
            </a:extLst>
          </p:cNvPr>
          <p:cNvSpPr/>
          <p:nvPr/>
        </p:nvSpPr>
        <p:spPr bwMode="gray">
          <a:xfrm>
            <a:off x="7709684" y="4023342"/>
            <a:ext cx="974342" cy="961835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b="1" dirty="0">
                <a:solidFill>
                  <a:schemeClr val="bg1"/>
                </a:solidFill>
              </a:rPr>
              <a:t>8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E69C18-8569-46F1-9634-5434348B518D}"/>
              </a:ext>
            </a:extLst>
          </p:cNvPr>
          <p:cNvSpPr txBox="1"/>
          <p:nvPr/>
        </p:nvSpPr>
        <p:spPr>
          <a:xfrm>
            <a:off x="7677231" y="3944795"/>
            <a:ext cx="1090531" cy="1040382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1715203"/>
              </a:avLst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>
                <a:solidFill>
                  <a:schemeClr val="accent1"/>
                </a:solidFill>
              </a:rPr>
              <a:t>Recall</a:t>
            </a:r>
            <a:endParaRPr lang="en-GB" sz="11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94384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723298E-3006-4505-8E3D-2A8AE304CC80}"/>
              </a:ext>
            </a:extLst>
          </p:cNvPr>
          <p:cNvGrpSpPr/>
          <p:nvPr/>
        </p:nvGrpSpPr>
        <p:grpSpPr>
          <a:xfrm>
            <a:off x="339524" y="1408855"/>
            <a:ext cx="4700559" cy="4053941"/>
            <a:chOff x="2738466" y="1927759"/>
            <a:chExt cx="3751278" cy="336534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8505A1F-20ED-4B1C-B58C-C464FE0E1DC8}"/>
                </a:ext>
              </a:extLst>
            </p:cNvPr>
            <p:cNvSpPr/>
            <p:nvPr/>
          </p:nvSpPr>
          <p:spPr bwMode="gray">
            <a:xfrm>
              <a:off x="2815420" y="2553342"/>
              <a:ext cx="1025140" cy="2739760"/>
            </a:xfrm>
            <a:prstGeom prst="rect">
              <a:avLst/>
            </a:prstGeom>
            <a:solidFill>
              <a:srgbClr val="00A3E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61546" tIns="61546" rIns="61546" bIns="61546" rtlCol="0" anchor="ctr"/>
            <a:lstStyle/>
            <a:p>
              <a:pPr algn="ctr" defTabSz="633062">
                <a:lnSpc>
                  <a:spcPct val="106000"/>
                </a:lnSpc>
                <a:defRPr/>
              </a:pPr>
              <a:endParaRPr lang="en-US" sz="1108" b="1" dirty="0">
                <a:solidFill>
                  <a:prstClr val="white"/>
                </a:solidFill>
                <a:latin typeface="Calibri Light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82C15EE-700A-44D0-97B8-73665D0DC6EF}"/>
                </a:ext>
              </a:extLst>
            </p:cNvPr>
            <p:cNvGrpSpPr/>
            <p:nvPr/>
          </p:nvGrpSpPr>
          <p:grpSpPr>
            <a:xfrm>
              <a:off x="2738466" y="1927759"/>
              <a:ext cx="1179051" cy="2164932"/>
              <a:chOff x="1803653" y="1995975"/>
              <a:chExt cx="1703073" cy="3127127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F82051D-8009-45E8-8F0F-036D1679038F}"/>
                  </a:ext>
                </a:extLst>
              </p:cNvPr>
              <p:cNvSpPr/>
              <p:nvPr/>
            </p:nvSpPr>
            <p:spPr>
              <a:xfrm>
                <a:off x="1909979" y="3844163"/>
                <a:ext cx="1325272" cy="2767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633062"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Higher Performance</a:t>
                </a: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0D9BF483-51FB-429E-B933-2F711A8FED96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chemeClr val="accent6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637C32F3-7C3A-4EB7-B5F9-7A88F5CBC96B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Freeform 542">
                <a:extLst>
                  <a:ext uri="{FF2B5EF4-FFF2-40B4-BE49-F238E27FC236}">
                    <a16:creationId xmlns:a16="http://schemas.microsoft.com/office/drawing/2014/main" id="{1F6218EF-ED41-4675-80A8-2C58357BE7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4153" y="2459432"/>
                <a:ext cx="482072" cy="772637"/>
              </a:xfrm>
              <a:custGeom>
                <a:avLst/>
                <a:gdLst>
                  <a:gd name="T0" fmla="*/ 99 w 199"/>
                  <a:gd name="T1" fmla="*/ 0 h 320"/>
                  <a:gd name="T2" fmla="*/ 99 w 199"/>
                  <a:gd name="T3" fmla="*/ 0 h 320"/>
                  <a:gd name="T4" fmla="*/ 99 w 199"/>
                  <a:gd name="T5" fmla="*/ 0 h 320"/>
                  <a:gd name="T6" fmla="*/ 99 w 199"/>
                  <a:gd name="T7" fmla="*/ 0 h 320"/>
                  <a:gd name="T8" fmla="*/ 98 w 199"/>
                  <a:gd name="T9" fmla="*/ 0 h 320"/>
                  <a:gd name="T10" fmla="*/ 0 w 199"/>
                  <a:gd name="T11" fmla="*/ 95 h 320"/>
                  <a:gd name="T12" fmla="*/ 19 w 199"/>
                  <a:gd name="T13" fmla="*/ 158 h 320"/>
                  <a:gd name="T14" fmla="*/ 45 w 199"/>
                  <a:gd name="T15" fmla="*/ 213 h 320"/>
                  <a:gd name="T16" fmla="*/ 45 w 199"/>
                  <a:gd name="T17" fmla="*/ 245 h 320"/>
                  <a:gd name="T18" fmla="*/ 46 w 199"/>
                  <a:gd name="T19" fmla="*/ 246 h 320"/>
                  <a:gd name="T20" fmla="*/ 45 w 199"/>
                  <a:gd name="T21" fmla="*/ 247 h 320"/>
                  <a:gd name="T22" fmla="*/ 56 w 199"/>
                  <a:gd name="T23" fmla="*/ 311 h 320"/>
                  <a:gd name="T24" fmla="*/ 67 w 199"/>
                  <a:gd name="T25" fmla="*/ 320 h 320"/>
                  <a:gd name="T26" fmla="*/ 131 w 199"/>
                  <a:gd name="T27" fmla="*/ 320 h 320"/>
                  <a:gd name="T28" fmla="*/ 141 w 199"/>
                  <a:gd name="T29" fmla="*/ 311 h 320"/>
                  <a:gd name="T30" fmla="*/ 152 w 199"/>
                  <a:gd name="T31" fmla="*/ 247 h 320"/>
                  <a:gd name="T32" fmla="*/ 152 w 199"/>
                  <a:gd name="T33" fmla="*/ 246 h 320"/>
                  <a:gd name="T34" fmla="*/ 152 w 199"/>
                  <a:gd name="T35" fmla="*/ 245 h 320"/>
                  <a:gd name="T36" fmla="*/ 152 w 199"/>
                  <a:gd name="T37" fmla="*/ 213 h 320"/>
                  <a:gd name="T38" fmla="*/ 179 w 199"/>
                  <a:gd name="T39" fmla="*/ 158 h 320"/>
                  <a:gd name="T40" fmla="*/ 199 w 199"/>
                  <a:gd name="T41" fmla="*/ 95 h 320"/>
                  <a:gd name="T42" fmla="*/ 99 w 199"/>
                  <a:gd name="T43" fmla="*/ 0 h 320"/>
                  <a:gd name="T44" fmla="*/ 122 w 199"/>
                  <a:gd name="T45" fmla="*/ 298 h 320"/>
                  <a:gd name="T46" fmla="*/ 76 w 199"/>
                  <a:gd name="T47" fmla="*/ 298 h 320"/>
                  <a:gd name="T48" fmla="*/ 69 w 199"/>
                  <a:gd name="T49" fmla="*/ 256 h 320"/>
                  <a:gd name="T50" fmla="*/ 129 w 199"/>
                  <a:gd name="T51" fmla="*/ 256 h 320"/>
                  <a:gd name="T52" fmla="*/ 122 w 199"/>
                  <a:gd name="T53" fmla="*/ 298 h 320"/>
                  <a:gd name="T54" fmla="*/ 161 w 199"/>
                  <a:gd name="T55" fmla="*/ 147 h 320"/>
                  <a:gd name="T56" fmla="*/ 131 w 199"/>
                  <a:gd name="T57" fmla="*/ 213 h 320"/>
                  <a:gd name="T58" fmla="*/ 131 w 199"/>
                  <a:gd name="T59" fmla="*/ 234 h 320"/>
                  <a:gd name="T60" fmla="*/ 109 w 199"/>
                  <a:gd name="T61" fmla="*/ 234 h 320"/>
                  <a:gd name="T62" fmla="*/ 109 w 199"/>
                  <a:gd name="T63" fmla="*/ 153 h 320"/>
                  <a:gd name="T64" fmla="*/ 128 w 199"/>
                  <a:gd name="T65" fmla="*/ 135 h 320"/>
                  <a:gd name="T66" fmla="*/ 128 w 199"/>
                  <a:gd name="T67" fmla="*/ 120 h 320"/>
                  <a:gd name="T68" fmla="*/ 112 w 199"/>
                  <a:gd name="T69" fmla="*/ 120 h 320"/>
                  <a:gd name="T70" fmla="*/ 99 w 199"/>
                  <a:gd name="T71" fmla="*/ 134 h 320"/>
                  <a:gd name="T72" fmla="*/ 85 w 199"/>
                  <a:gd name="T73" fmla="*/ 120 h 320"/>
                  <a:gd name="T74" fmla="*/ 70 w 199"/>
                  <a:gd name="T75" fmla="*/ 120 h 320"/>
                  <a:gd name="T76" fmla="*/ 70 w 199"/>
                  <a:gd name="T77" fmla="*/ 135 h 320"/>
                  <a:gd name="T78" fmla="*/ 88 w 199"/>
                  <a:gd name="T79" fmla="*/ 153 h 320"/>
                  <a:gd name="T80" fmla="*/ 88 w 199"/>
                  <a:gd name="T81" fmla="*/ 234 h 320"/>
                  <a:gd name="T82" fmla="*/ 67 w 199"/>
                  <a:gd name="T83" fmla="*/ 234 h 320"/>
                  <a:gd name="T84" fmla="*/ 67 w 199"/>
                  <a:gd name="T85" fmla="*/ 213 h 320"/>
                  <a:gd name="T86" fmla="*/ 37 w 199"/>
                  <a:gd name="T87" fmla="*/ 146 h 320"/>
                  <a:gd name="T88" fmla="*/ 21 w 199"/>
                  <a:gd name="T89" fmla="*/ 95 h 320"/>
                  <a:gd name="T90" fmla="*/ 99 w 199"/>
                  <a:gd name="T91" fmla="*/ 21 h 320"/>
                  <a:gd name="T92" fmla="*/ 177 w 199"/>
                  <a:gd name="T93" fmla="*/ 95 h 320"/>
                  <a:gd name="T94" fmla="*/ 161 w 199"/>
                  <a:gd name="T95" fmla="*/ 147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9" h="320">
                    <a:moveTo>
                      <a:pt x="99" y="0"/>
                    </a:moveTo>
                    <a:cubicBezTo>
                      <a:pt x="99" y="0"/>
                      <a:pt x="99" y="0"/>
                      <a:pt x="99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9" y="0"/>
                      <a:pt x="99" y="0"/>
                      <a:pt x="98" y="0"/>
                    </a:cubicBezTo>
                    <a:cubicBezTo>
                      <a:pt x="45" y="0"/>
                      <a:pt x="0" y="44"/>
                      <a:pt x="0" y="95"/>
                    </a:cubicBezTo>
                    <a:cubicBezTo>
                      <a:pt x="0" y="129"/>
                      <a:pt x="18" y="157"/>
                      <a:pt x="19" y="158"/>
                    </a:cubicBezTo>
                    <a:cubicBezTo>
                      <a:pt x="32" y="179"/>
                      <a:pt x="45" y="206"/>
                      <a:pt x="45" y="213"/>
                    </a:cubicBezTo>
                    <a:cubicBezTo>
                      <a:pt x="45" y="245"/>
                      <a:pt x="45" y="245"/>
                      <a:pt x="45" y="245"/>
                    </a:cubicBezTo>
                    <a:cubicBezTo>
                      <a:pt x="45" y="245"/>
                      <a:pt x="45" y="246"/>
                      <a:pt x="46" y="246"/>
                    </a:cubicBezTo>
                    <a:cubicBezTo>
                      <a:pt x="46" y="246"/>
                      <a:pt x="45" y="246"/>
                      <a:pt x="45" y="247"/>
                    </a:cubicBezTo>
                    <a:cubicBezTo>
                      <a:pt x="56" y="311"/>
                      <a:pt x="56" y="311"/>
                      <a:pt x="56" y="311"/>
                    </a:cubicBezTo>
                    <a:cubicBezTo>
                      <a:pt x="57" y="316"/>
                      <a:pt x="61" y="320"/>
                      <a:pt x="67" y="320"/>
                    </a:cubicBezTo>
                    <a:cubicBezTo>
                      <a:pt x="131" y="320"/>
                      <a:pt x="131" y="320"/>
                      <a:pt x="131" y="320"/>
                    </a:cubicBezTo>
                    <a:cubicBezTo>
                      <a:pt x="136" y="320"/>
                      <a:pt x="140" y="316"/>
                      <a:pt x="141" y="311"/>
                    </a:cubicBezTo>
                    <a:cubicBezTo>
                      <a:pt x="152" y="247"/>
                      <a:pt x="152" y="247"/>
                      <a:pt x="152" y="247"/>
                    </a:cubicBezTo>
                    <a:cubicBezTo>
                      <a:pt x="152" y="246"/>
                      <a:pt x="152" y="246"/>
                      <a:pt x="152" y="246"/>
                    </a:cubicBezTo>
                    <a:cubicBezTo>
                      <a:pt x="152" y="246"/>
                      <a:pt x="152" y="245"/>
                      <a:pt x="152" y="245"/>
                    </a:cubicBezTo>
                    <a:cubicBezTo>
                      <a:pt x="152" y="213"/>
                      <a:pt x="152" y="213"/>
                      <a:pt x="152" y="213"/>
                    </a:cubicBezTo>
                    <a:cubicBezTo>
                      <a:pt x="152" y="206"/>
                      <a:pt x="166" y="179"/>
                      <a:pt x="179" y="158"/>
                    </a:cubicBezTo>
                    <a:cubicBezTo>
                      <a:pt x="180" y="157"/>
                      <a:pt x="199" y="129"/>
                      <a:pt x="199" y="95"/>
                    </a:cubicBezTo>
                    <a:cubicBezTo>
                      <a:pt x="199" y="44"/>
                      <a:pt x="153" y="0"/>
                      <a:pt x="99" y="0"/>
                    </a:cubicBezTo>
                    <a:close/>
                    <a:moveTo>
                      <a:pt x="122" y="298"/>
                    </a:moveTo>
                    <a:cubicBezTo>
                      <a:pt x="76" y="298"/>
                      <a:pt x="76" y="298"/>
                      <a:pt x="76" y="298"/>
                    </a:cubicBezTo>
                    <a:cubicBezTo>
                      <a:pt x="69" y="256"/>
                      <a:pt x="69" y="256"/>
                      <a:pt x="69" y="256"/>
                    </a:cubicBezTo>
                    <a:cubicBezTo>
                      <a:pt x="129" y="256"/>
                      <a:pt x="129" y="256"/>
                      <a:pt x="129" y="256"/>
                    </a:cubicBezTo>
                    <a:lnTo>
                      <a:pt x="122" y="298"/>
                    </a:lnTo>
                    <a:close/>
                    <a:moveTo>
                      <a:pt x="161" y="147"/>
                    </a:moveTo>
                    <a:cubicBezTo>
                      <a:pt x="154" y="158"/>
                      <a:pt x="131" y="196"/>
                      <a:pt x="131" y="213"/>
                    </a:cubicBezTo>
                    <a:cubicBezTo>
                      <a:pt x="131" y="234"/>
                      <a:pt x="131" y="234"/>
                      <a:pt x="131" y="234"/>
                    </a:cubicBezTo>
                    <a:cubicBezTo>
                      <a:pt x="109" y="234"/>
                      <a:pt x="109" y="234"/>
                      <a:pt x="109" y="234"/>
                    </a:cubicBezTo>
                    <a:cubicBezTo>
                      <a:pt x="109" y="153"/>
                      <a:pt x="109" y="153"/>
                      <a:pt x="109" y="153"/>
                    </a:cubicBezTo>
                    <a:cubicBezTo>
                      <a:pt x="128" y="135"/>
                      <a:pt x="128" y="135"/>
                      <a:pt x="128" y="135"/>
                    </a:cubicBezTo>
                    <a:cubicBezTo>
                      <a:pt x="132" y="131"/>
                      <a:pt x="132" y="124"/>
                      <a:pt x="128" y="120"/>
                    </a:cubicBezTo>
                    <a:cubicBezTo>
                      <a:pt x="123" y="116"/>
                      <a:pt x="117" y="116"/>
                      <a:pt x="112" y="120"/>
                    </a:cubicBezTo>
                    <a:cubicBezTo>
                      <a:pt x="99" y="134"/>
                      <a:pt x="99" y="134"/>
                      <a:pt x="99" y="13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1" y="116"/>
                      <a:pt x="74" y="116"/>
                      <a:pt x="70" y="120"/>
                    </a:cubicBezTo>
                    <a:cubicBezTo>
                      <a:pt x="66" y="124"/>
                      <a:pt x="66" y="131"/>
                      <a:pt x="70" y="135"/>
                    </a:cubicBezTo>
                    <a:cubicBezTo>
                      <a:pt x="88" y="153"/>
                      <a:pt x="88" y="153"/>
                      <a:pt x="88" y="153"/>
                    </a:cubicBezTo>
                    <a:cubicBezTo>
                      <a:pt x="88" y="234"/>
                      <a:pt x="88" y="234"/>
                      <a:pt x="88" y="234"/>
                    </a:cubicBezTo>
                    <a:cubicBezTo>
                      <a:pt x="67" y="234"/>
                      <a:pt x="67" y="234"/>
                      <a:pt x="67" y="234"/>
                    </a:cubicBezTo>
                    <a:cubicBezTo>
                      <a:pt x="67" y="213"/>
                      <a:pt x="67" y="213"/>
                      <a:pt x="67" y="213"/>
                    </a:cubicBezTo>
                    <a:cubicBezTo>
                      <a:pt x="67" y="196"/>
                      <a:pt x="44" y="158"/>
                      <a:pt x="37" y="146"/>
                    </a:cubicBezTo>
                    <a:cubicBezTo>
                      <a:pt x="37" y="146"/>
                      <a:pt x="21" y="123"/>
                      <a:pt x="21" y="95"/>
                    </a:cubicBezTo>
                    <a:cubicBezTo>
                      <a:pt x="21" y="55"/>
                      <a:pt x="57" y="21"/>
                      <a:pt x="99" y="21"/>
                    </a:cubicBezTo>
                    <a:cubicBezTo>
                      <a:pt x="141" y="21"/>
                      <a:pt x="177" y="55"/>
                      <a:pt x="177" y="95"/>
                    </a:cubicBezTo>
                    <a:cubicBezTo>
                      <a:pt x="177" y="122"/>
                      <a:pt x="161" y="146"/>
                      <a:pt x="161" y="147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305" tIns="31652" rIns="63305" bIns="31652" numCol="1" anchor="t" anchorCtr="0" compatLnSpc="1">
                <a:prstTxWarp prst="textNoShape">
                  <a:avLst/>
                </a:prstTxWarp>
              </a:bodyPr>
              <a:lstStyle/>
              <a:p>
                <a:pPr defTabSz="633062">
                  <a:defRPr/>
                </a:pPr>
                <a:endParaRPr lang="en-GB" sz="1246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C8F23EE7-AB28-40EE-978D-9C5F66A46356}"/>
                  </a:ext>
                </a:extLst>
              </p:cNvPr>
              <p:cNvSpPr/>
              <p:nvPr/>
            </p:nvSpPr>
            <p:spPr>
              <a:xfrm>
                <a:off x="1931197" y="4182017"/>
                <a:ext cx="1480757" cy="9410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Accuracy: 99.9%</a:t>
                </a:r>
              </a:p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Precision: 63</a:t>
                </a:r>
              </a:p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Recall: 84</a:t>
                </a:r>
              </a:p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F1 Score: 72</a:t>
                </a:r>
              </a:p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AUC: 0.92</a:t>
                </a:r>
              </a:p>
            </p:txBody>
          </p: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B296F4F-B695-40A5-A8AB-22654B46C836}"/>
                </a:ext>
              </a:extLst>
            </p:cNvPr>
            <p:cNvSpPr/>
            <p:nvPr/>
          </p:nvSpPr>
          <p:spPr bwMode="gray">
            <a:xfrm>
              <a:off x="4101533" y="2553342"/>
              <a:ext cx="1025140" cy="2739760"/>
            </a:xfrm>
            <a:prstGeom prst="rect">
              <a:avLst/>
            </a:prstGeom>
            <a:solidFill>
              <a:srgbClr val="00768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61546" tIns="61546" rIns="61546" bIns="61546" rtlCol="0" anchor="ctr"/>
            <a:lstStyle/>
            <a:p>
              <a:pPr algn="ctr" defTabSz="633062">
                <a:lnSpc>
                  <a:spcPct val="106000"/>
                </a:lnSpc>
                <a:defRPr/>
              </a:pPr>
              <a:endParaRPr lang="en-US" sz="1108" b="1" dirty="0">
                <a:solidFill>
                  <a:prstClr val="white"/>
                </a:solidFill>
                <a:latin typeface="Calibri Light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93BE1CA-9A2F-443D-BC96-9A8BF0E7A0CB}"/>
                </a:ext>
              </a:extLst>
            </p:cNvPr>
            <p:cNvGrpSpPr/>
            <p:nvPr/>
          </p:nvGrpSpPr>
          <p:grpSpPr>
            <a:xfrm>
              <a:off x="4024580" y="1927759"/>
              <a:ext cx="1179051" cy="2624830"/>
              <a:chOff x="1803653" y="1995975"/>
              <a:chExt cx="1703073" cy="3791423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62436E40-252D-420F-813F-692EBA39EC3B}"/>
                  </a:ext>
                </a:extLst>
              </p:cNvPr>
              <p:cNvSpPr/>
              <p:nvPr/>
            </p:nvSpPr>
            <p:spPr>
              <a:xfrm>
                <a:off x="1909979" y="3844163"/>
                <a:ext cx="1349294" cy="2767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633062"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Reduced Complexity</a:t>
                </a: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6192984-B33C-4680-80DD-0B04E833DF41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85CE778F-E418-409A-9EE8-E60A4E493C1E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13B65EFE-B5CA-4188-859A-A0324D09EC6F}"/>
                  </a:ext>
                </a:extLst>
              </p:cNvPr>
              <p:cNvSpPr/>
              <p:nvPr/>
            </p:nvSpPr>
            <p:spPr>
              <a:xfrm>
                <a:off x="1931197" y="4182018"/>
                <a:ext cx="1480757" cy="160538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The model was reduced from 30 features to just the six top performing features.</a:t>
                </a:r>
              </a:p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With less features, the model ran faster and was easier to evaluate.</a:t>
                </a:r>
              </a:p>
            </p:txBody>
          </p:sp>
        </p:grpSp>
        <p:sp>
          <p:nvSpPr>
            <p:cNvPr id="63" name="Freeform 64">
              <a:extLst>
                <a:ext uri="{FF2B5EF4-FFF2-40B4-BE49-F238E27FC236}">
                  <a16:creationId xmlns:a16="http://schemas.microsoft.com/office/drawing/2014/main" id="{EE4CCC41-2D7A-4E7C-90ED-3B56625E2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1783" y="2388382"/>
              <a:ext cx="639914" cy="255364"/>
            </a:xfrm>
            <a:custGeom>
              <a:avLst/>
              <a:gdLst>
                <a:gd name="T0" fmla="*/ 309 w 320"/>
                <a:gd name="T1" fmla="*/ 53 h 128"/>
                <a:gd name="T2" fmla="*/ 308 w 320"/>
                <a:gd name="T3" fmla="*/ 53 h 128"/>
                <a:gd name="T4" fmla="*/ 245 w 320"/>
                <a:gd name="T5" fmla="*/ 0 h 128"/>
                <a:gd name="T6" fmla="*/ 183 w 320"/>
                <a:gd name="T7" fmla="*/ 48 h 128"/>
                <a:gd name="T8" fmla="*/ 160 w 320"/>
                <a:gd name="T9" fmla="*/ 42 h 128"/>
                <a:gd name="T10" fmla="*/ 136 w 320"/>
                <a:gd name="T11" fmla="*/ 48 h 128"/>
                <a:gd name="T12" fmla="*/ 74 w 320"/>
                <a:gd name="T13" fmla="*/ 0 h 128"/>
                <a:gd name="T14" fmla="*/ 11 w 320"/>
                <a:gd name="T15" fmla="*/ 53 h 128"/>
                <a:gd name="T16" fmla="*/ 10 w 320"/>
                <a:gd name="T17" fmla="*/ 53 h 128"/>
                <a:gd name="T18" fmla="*/ 0 w 320"/>
                <a:gd name="T19" fmla="*/ 64 h 128"/>
                <a:gd name="T20" fmla="*/ 10 w 320"/>
                <a:gd name="T21" fmla="*/ 74 h 128"/>
                <a:gd name="T22" fmla="*/ 11 w 320"/>
                <a:gd name="T23" fmla="*/ 74 h 128"/>
                <a:gd name="T24" fmla="*/ 74 w 320"/>
                <a:gd name="T25" fmla="*/ 128 h 128"/>
                <a:gd name="T26" fmla="*/ 138 w 320"/>
                <a:gd name="T27" fmla="*/ 73 h 128"/>
                <a:gd name="T28" fmla="*/ 160 w 320"/>
                <a:gd name="T29" fmla="*/ 64 h 128"/>
                <a:gd name="T30" fmla="*/ 182 w 320"/>
                <a:gd name="T31" fmla="*/ 73 h 128"/>
                <a:gd name="T32" fmla="*/ 245 w 320"/>
                <a:gd name="T33" fmla="*/ 128 h 128"/>
                <a:gd name="T34" fmla="*/ 308 w 320"/>
                <a:gd name="T35" fmla="*/ 74 h 128"/>
                <a:gd name="T36" fmla="*/ 309 w 320"/>
                <a:gd name="T37" fmla="*/ 74 h 128"/>
                <a:gd name="T38" fmla="*/ 320 w 320"/>
                <a:gd name="T39" fmla="*/ 64 h 128"/>
                <a:gd name="T40" fmla="*/ 309 w 320"/>
                <a:gd name="T41" fmla="*/ 53 h 128"/>
                <a:gd name="T42" fmla="*/ 74 w 320"/>
                <a:gd name="T43" fmla="*/ 106 h 128"/>
                <a:gd name="T44" fmla="*/ 32 w 320"/>
                <a:gd name="T45" fmla="*/ 64 h 128"/>
                <a:gd name="T46" fmla="*/ 74 w 320"/>
                <a:gd name="T47" fmla="*/ 21 h 128"/>
                <a:gd name="T48" fmla="*/ 117 w 320"/>
                <a:gd name="T49" fmla="*/ 64 h 128"/>
                <a:gd name="T50" fmla="*/ 74 w 320"/>
                <a:gd name="T51" fmla="*/ 106 h 128"/>
                <a:gd name="T52" fmla="*/ 245 w 320"/>
                <a:gd name="T53" fmla="*/ 106 h 128"/>
                <a:gd name="T54" fmla="*/ 202 w 320"/>
                <a:gd name="T55" fmla="*/ 64 h 128"/>
                <a:gd name="T56" fmla="*/ 245 w 320"/>
                <a:gd name="T57" fmla="*/ 21 h 128"/>
                <a:gd name="T58" fmla="*/ 288 w 320"/>
                <a:gd name="T59" fmla="*/ 64 h 128"/>
                <a:gd name="T60" fmla="*/ 245 w 320"/>
                <a:gd name="T61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308" y="53"/>
                    <a:pt x="308" y="53"/>
                    <a:pt x="308" y="53"/>
                  </a:cubicBezTo>
                  <a:cubicBezTo>
                    <a:pt x="303" y="23"/>
                    <a:pt x="277" y="0"/>
                    <a:pt x="245" y="0"/>
                  </a:cubicBezTo>
                  <a:cubicBezTo>
                    <a:pt x="215" y="0"/>
                    <a:pt x="190" y="20"/>
                    <a:pt x="183" y="48"/>
                  </a:cubicBezTo>
                  <a:cubicBezTo>
                    <a:pt x="176" y="44"/>
                    <a:pt x="168" y="42"/>
                    <a:pt x="160" y="42"/>
                  </a:cubicBezTo>
                  <a:cubicBezTo>
                    <a:pt x="151" y="42"/>
                    <a:pt x="143" y="44"/>
                    <a:pt x="136" y="48"/>
                  </a:cubicBezTo>
                  <a:cubicBezTo>
                    <a:pt x="129" y="20"/>
                    <a:pt x="104" y="0"/>
                    <a:pt x="74" y="0"/>
                  </a:cubicBezTo>
                  <a:cubicBezTo>
                    <a:pt x="43" y="0"/>
                    <a:pt x="16" y="23"/>
                    <a:pt x="11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4" y="53"/>
                    <a:pt x="0" y="58"/>
                    <a:pt x="0" y="64"/>
                  </a:cubicBezTo>
                  <a:cubicBezTo>
                    <a:pt x="0" y="70"/>
                    <a:pt x="4" y="74"/>
                    <a:pt x="10" y="74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6" y="105"/>
                    <a:pt x="43" y="128"/>
                    <a:pt x="74" y="128"/>
                  </a:cubicBezTo>
                  <a:cubicBezTo>
                    <a:pt x="107" y="128"/>
                    <a:pt x="133" y="104"/>
                    <a:pt x="138" y="73"/>
                  </a:cubicBezTo>
                  <a:cubicBezTo>
                    <a:pt x="144" y="67"/>
                    <a:pt x="151" y="64"/>
                    <a:pt x="160" y="64"/>
                  </a:cubicBezTo>
                  <a:cubicBezTo>
                    <a:pt x="168" y="64"/>
                    <a:pt x="176" y="67"/>
                    <a:pt x="182" y="73"/>
                  </a:cubicBezTo>
                  <a:cubicBezTo>
                    <a:pt x="186" y="104"/>
                    <a:pt x="213" y="128"/>
                    <a:pt x="245" y="128"/>
                  </a:cubicBezTo>
                  <a:cubicBezTo>
                    <a:pt x="277" y="128"/>
                    <a:pt x="303" y="105"/>
                    <a:pt x="308" y="74"/>
                  </a:cubicBezTo>
                  <a:cubicBezTo>
                    <a:pt x="309" y="74"/>
                    <a:pt x="309" y="74"/>
                    <a:pt x="309" y="74"/>
                  </a:cubicBezTo>
                  <a:cubicBezTo>
                    <a:pt x="315" y="74"/>
                    <a:pt x="320" y="70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74" y="106"/>
                  </a:moveTo>
                  <a:cubicBezTo>
                    <a:pt x="51" y="106"/>
                    <a:pt x="32" y="87"/>
                    <a:pt x="32" y="64"/>
                  </a:cubicBezTo>
                  <a:cubicBezTo>
                    <a:pt x="32" y="40"/>
                    <a:pt x="51" y="21"/>
                    <a:pt x="74" y="21"/>
                  </a:cubicBezTo>
                  <a:cubicBezTo>
                    <a:pt x="98" y="21"/>
                    <a:pt x="117" y="40"/>
                    <a:pt x="117" y="64"/>
                  </a:cubicBezTo>
                  <a:cubicBezTo>
                    <a:pt x="117" y="87"/>
                    <a:pt x="98" y="106"/>
                    <a:pt x="74" y="106"/>
                  </a:cubicBezTo>
                  <a:close/>
                  <a:moveTo>
                    <a:pt x="245" y="106"/>
                  </a:moveTo>
                  <a:cubicBezTo>
                    <a:pt x="221" y="106"/>
                    <a:pt x="202" y="87"/>
                    <a:pt x="202" y="64"/>
                  </a:cubicBezTo>
                  <a:cubicBezTo>
                    <a:pt x="202" y="40"/>
                    <a:pt x="221" y="21"/>
                    <a:pt x="245" y="21"/>
                  </a:cubicBezTo>
                  <a:cubicBezTo>
                    <a:pt x="269" y="21"/>
                    <a:pt x="288" y="40"/>
                    <a:pt x="288" y="64"/>
                  </a:cubicBezTo>
                  <a:cubicBezTo>
                    <a:pt x="288" y="87"/>
                    <a:pt x="269" y="106"/>
                    <a:pt x="245" y="106"/>
                  </a:cubicBezTo>
                  <a:close/>
                </a:path>
              </a:pathLst>
            </a:custGeom>
            <a:solidFill>
              <a:srgbClr val="00AB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633062">
                <a:defRPr/>
              </a:pPr>
              <a:endParaRPr lang="en-GB" sz="1246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50E4562-A4C1-4501-BDA8-5BAEB6931FE9}"/>
                </a:ext>
              </a:extLst>
            </p:cNvPr>
            <p:cNvSpPr/>
            <p:nvPr/>
          </p:nvSpPr>
          <p:spPr bwMode="gray">
            <a:xfrm>
              <a:off x="5387646" y="2553342"/>
              <a:ext cx="1025140" cy="2739760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61546" tIns="61546" rIns="61546" bIns="61546" rtlCol="0" anchor="ctr"/>
            <a:lstStyle/>
            <a:p>
              <a:pPr algn="ctr" defTabSz="633062">
                <a:lnSpc>
                  <a:spcPct val="106000"/>
                </a:lnSpc>
                <a:defRPr/>
              </a:pPr>
              <a:endParaRPr lang="en-US" sz="1108" b="1" dirty="0">
                <a:solidFill>
                  <a:prstClr val="white"/>
                </a:solidFill>
                <a:latin typeface="Calibri Light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774AF6F7-2457-4A8A-93B4-E98846CA96FD}"/>
                </a:ext>
              </a:extLst>
            </p:cNvPr>
            <p:cNvGrpSpPr/>
            <p:nvPr/>
          </p:nvGrpSpPr>
          <p:grpSpPr>
            <a:xfrm>
              <a:off x="5310693" y="1927759"/>
              <a:ext cx="1179051" cy="2509857"/>
              <a:chOff x="1803653" y="1995975"/>
              <a:chExt cx="1703073" cy="3625351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236130AE-09A7-4B94-AA3E-B34C36F8887E}"/>
                  </a:ext>
                </a:extLst>
              </p:cNvPr>
              <p:cNvSpPr/>
              <p:nvPr/>
            </p:nvSpPr>
            <p:spPr>
              <a:xfrm>
                <a:off x="1909979" y="3844163"/>
                <a:ext cx="1556253" cy="27678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633062"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Low False Negative Rate</a:t>
                </a: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449FE19D-03EA-48A8-8601-DA74B7C6BA5F}"/>
                  </a:ext>
                </a:extLst>
              </p:cNvPr>
              <p:cNvSpPr/>
              <p:nvPr/>
            </p:nvSpPr>
            <p:spPr bwMode="gray">
              <a:xfrm>
                <a:off x="1803653" y="1995975"/>
                <a:ext cx="1703073" cy="1699552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AD89E37A-8B80-4213-AE63-01170F731CD1}"/>
                  </a:ext>
                </a:extLst>
              </p:cNvPr>
              <p:cNvSpPr/>
              <p:nvPr/>
            </p:nvSpPr>
            <p:spPr bwMode="gray">
              <a:xfrm>
                <a:off x="1997259" y="2189181"/>
                <a:ext cx="1315860" cy="131313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61546" tIns="61546" rIns="61546" bIns="61546" rtlCol="0" anchor="ctr"/>
              <a:lstStyle/>
              <a:p>
                <a:pPr algn="ctr" defTabSz="633062">
                  <a:lnSpc>
                    <a:spcPct val="106000"/>
                  </a:lnSpc>
                  <a:defRPr/>
                </a:pPr>
                <a:endParaRPr lang="en-US" sz="1108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4F71D54A-649C-429D-A824-5C12F8D687BC}"/>
                  </a:ext>
                </a:extLst>
              </p:cNvPr>
              <p:cNvSpPr/>
              <p:nvPr/>
            </p:nvSpPr>
            <p:spPr>
              <a:xfrm>
                <a:off x="1931197" y="4182019"/>
                <a:ext cx="1480757" cy="14393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 defTabSz="633062">
                  <a:buFont typeface="Arial" panose="020B0604020202020204" pitchFamily="34" charset="0"/>
                  <a:buChar char="•"/>
                  <a:defRPr/>
                </a:pPr>
                <a:r>
                  <a:rPr lang="en-US" sz="900" b="1" dirty="0">
                    <a:solidFill>
                      <a:prstClr val="white"/>
                    </a:solidFill>
                  </a:rPr>
                  <a:t>When wrong, the model tends to lean toward false positive over false negative, which in the case of fraud is the more desirable outcome.</a:t>
                </a:r>
              </a:p>
            </p:txBody>
          </p:sp>
        </p:grpSp>
        <p:sp>
          <p:nvSpPr>
            <p:cNvPr id="70" name="Freeform 764">
              <a:extLst>
                <a:ext uri="{FF2B5EF4-FFF2-40B4-BE49-F238E27FC236}">
                  <a16:creationId xmlns:a16="http://schemas.microsoft.com/office/drawing/2014/main" id="{6FC7EAE0-80ED-4C04-891F-6310A53F39E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14657" y="2248613"/>
              <a:ext cx="393810" cy="535178"/>
            </a:xfrm>
            <a:custGeom>
              <a:avLst/>
              <a:gdLst>
                <a:gd name="T0" fmla="*/ 11 w 235"/>
                <a:gd name="T1" fmla="*/ 0 h 320"/>
                <a:gd name="T2" fmla="*/ 0 w 235"/>
                <a:gd name="T3" fmla="*/ 309 h 320"/>
                <a:gd name="T4" fmla="*/ 224 w 235"/>
                <a:gd name="T5" fmla="*/ 320 h 320"/>
                <a:gd name="T6" fmla="*/ 235 w 235"/>
                <a:gd name="T7" fmla="*/ 10 h 320"/>
                <a:gd name="T8" fmla="*/ 214 w 235"/>
                <a:gd name="T9" fmla="*/ 298 h 320"/>
                <a:gd name="T10" fmla="*/ 22 w 235"/>
                <a:gd name="T11" fmla="*/ 21 h 320"/>
                <a:gd name="T12" fmla="*/ 214 w 235"/>
                <a:gd name="T13" fmla="*/ 298 h 320"/>
                <a:gd name="T14" fmla="*/ 182 w 235"/>
                <a:gd name="T15" fmla="*/ 106 h 320"/>
                <a:gd name="T16" fmla="*/ 192 w 235"/>
                <a:gd name="T17" fmla="*/ 53 h 320"/>
                <a:gd name="T18" fmla="*/ 54 w 235"/>
                <a:gd name="T19" fmla="*/ 42 h 320"/>
                <a:gd name="T20" fmla="*/ 43 w 235"/>
                <a:gd name="T21" fmla="*/ 96 h 320"/>
                <a:gd name="T22" fmla="*/ 64 w 235"/>
                <a:gd name="T23" fmla="*/ 64 h 320"/>
                <a:gd name="T24" fmla="*/ 171 w 235"/>
                <a:gd name="T25" fmla="*/ 85 h 320"/>
                <a:gd name="T26" fmla="*/ 64 w 235"/>
                <a:gd name="T27" fmla="*/ 64 h 320"/>
                <a:gd name="T28" fmla="*/ 54 w 235"/>
                <a:gd name="T29" fmla="*/ 128 h 320"/>
                <a:gd name="T30" fmla="*/ 54 w 235"/>
                <a:gd name="T31" fmla="*/ 149 h 320"/>
                <a:gd name="T32" fmla="*/ 107 w 235"/>
                <a:gd name="T33" fmla="*/ 138 h 320"/>
                <a:gd name="T34" fmla="*/ 86 w 235"/>
                <a:gd name="T35" fmla="*/ 138 h 320"/>
                <a:gd name="T36" fmla="*/ 107 w 235"/>
                <a:gd name="T37" fmla="*/ 138 h 320"/>
                <a:gd name="T38" fmla="*/ 139 w 235"/>
                <a:gd name="T39" fmla="*/ 149 h 320"/>
                <a:gd name="T40" fmla="*/ 139 w 235"/>
                <a:gd name="T41" fmla="*/ 128 h 320"/>
                <a:gd name="T42" fmla="*/ 192 w 235"/>
                <a:gd name="T43" fmla="*/ 138 h 320"/>
                <a:gd name="T44" fmla="*/ 171 w 235"/>
                <a:gd name="T45" fmla="*/ 138 h 320"/>
                <a:gd name="T46" fmla="*/ 192 w 235"/>
                <a:gd name="T47" fmla="*/ 138 h 320"/>
                <a:gd name="T48" fmla="*/ 54 w 235"/>
                <a:gd name="T49" fmla="*/ 170 h 320"/>
                <a:gd name="T50" fmla="*/ 54 w 235"/>
                <a:gd name="T51" fmla="*/ 192 h 320"/>
                <a:gd name="T52" fmla="*/ 107 w 235"/>
                <a:gd name="T53" fmla="*/ 181 h 320"/>
                <a:gd name="T54" fmla="*/ 86 w 235"/>
                <a:gd name="T55" fmla="*/ 181 h 320"/>
                <a:gd name="T56" fmla="*/ 107 w 235"/>
                <a:gd name="T57" fmla="*/ 181 h 320"/>
                <a:gd name="T58" fmla="*/ 139 w 235"/>
                <a:gd name="T59" fmla="*/ 192 h 320"/>
                <a:gd name="T60" fmla="*/ 139 w 235"/>
                <a:gd name="T61" fmla="*/ 170 h 320"/>
                <a:gd name="T62" fmla="*/ 192 w 235"/>
                <a:gd name="T63" fmla="*/ 181 h 320"/>
                <a:gd name="T64" fmla="*/ 171 w 235"/>
                <a:gd name="T65" fmla="*/ 181 h 320"/>
                <a:gd name="T66" fmla="*/ 192 w 235"/>
                <a:gd name="T67" fmla="*/ 181 h 320"/>
                <a:gd name="T68" fmla="*/ 54 w 235"/>
                <a:gd name="T69" fmla="*/ 213 h 320"/>
                <a:gd name="T70" fmla="*/ 54 w 235"/>
                <a:gd name="T71" fmla="*/ 234 h 320"/>
                <a:gd name="T72" fmla="*/ 107 w 235"/>
                <a:gd name="T73" fmla="*/ 224 h 320"/>
                <a:gd name="T74" fmla="*/ 86 w 235"/>
                <a:gd name="T75" fmla="*/ 224 h 320"/>
                <a:gd name="T76" fmla="*/ 107 w 235"/>
                <a:gd name="T77" fmla="*/ 224 h 320"/>
                <a:gd name="T78" fmla="*/ 139 w 235"/>
                <a:gd name="T79" fmla="*/ 234 h 320"/>
                <a:gd name="T80" fmla="*/ 139 w 235"/>
                <a:gd name="T81" fmla="*/ 213 h 320"/>
                <a:gd name="T82" fmla="*/ 192 w 235"/>
                <a:gd name="T83" fmla="*/ 224 h 320"/>
                <a:gd name="T84" fmla="*/ 182 w 235"/>
                <a:gd name="T85" fmla="*/ 277 h 320"/>
                <a:gd name="T86" fmla="*/ 171 w 235"/>
                <a:gd name="T87" fmla="*/ 224 h 320"/>
                <a:gd name="T88" fmla="*/ 192 w 235"/>
                <a:gd name="T89" fmla="*/ 224 h 320"/>
                <a:gd name="T90" fmla="*/ 54 w 235"/>
                <a:gd name="T91" fmla="*/ 256 h 320"/>
                <a:gd name="T92" fmla="*/ 54 w 235"/>
                <a:gd name="T93" fmla="*/ 277 h 320"/>
                <a:gd name="T94" fmla="*/ 107 w 235"/>
                <a:gd name="T95" fmla="*/ 266 h 320"/>
                <a:gd name="T96" fmla="*/ 86 w 235"/>
                <a:gd name="T97" fmla="*/ 266 h 320"/>
                <a:gd name="T98" fmla="*/ 107 w 235"/>
                <a:gd name="T99" fmla="*/ 266 h 320"/>
                <a:gd name="T100" fmla="*/ 139 w 235"/>
                <a:gd name="T101" fmla="*/ 277 h 320"/>
                <a:gd name="T102" fmla="*/ 139 w 235"/>
                <a:gd name="T10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320">
                  <a:moveTo>
                    <a:pt x="2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0"/>
                    <a:pt x="235" y="10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4" y="21"/>
                    <a:pt x="214" y="21"/>
                    <a:pt x="214" y="21"/>
                  </a:cubicBezTo>
                  <a:lnTo>
                    <a:pt x="214" y="298"/>
                  </a:lnTo>
                  <a:close/>
                  <a:moveTo>
                    <a:pt x="54" y="106"/>
                  </a:moveTo>
                  <a:cubicBezTo>
                    <a:pt x="182" y="106"/>
                    <a:pt x="182" y="106"/>
                    <a:pt x="182" y="106"/>
                  </a:cubicBezTo>
                  <a:cubicBezTo>
                    <a:pt x="188" y="106"/>
                    <a:pt x="192" y="102"/>
                    <a:pt x="192" y="96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47"/>
                    <a:pt x="188" y="42"/>
                    <a:pt x="182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8" y="106"/>
                    <a:pt x="54" y="106"/>
                  </a:cubicBezTo>
                  <a:close/>
                  <a:moveTo>
                    <a:pt x="64" y="64"/>
                  </a:moveTo>
                  <a:cubicBezTo>
                    <a:pt x="171" y="64"/>
                    <a:pt x="171" y="64"/>
                    <a:pt x="171" y="64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64" y="85"/>
                    <a:pt x="64" y="85"/>
                    <a:pt x="64" y="85"/>
                  </a:cubicBezTo>
                  <a:lnTo>
                    <a:pt x="64" y="64"/>
                  </a:lnTo>
                  <a:close/>
                  <a:moveTo>
                    <a:pt x="43" y="138"/>
                  </a:moveTo>
                  <a:cubicBezTo>
                    <a:pt x="43" y="132"/>
                    <a:pt x="48" y="128"/>
                    <a:pt x="54" y="128"/>
                  </a:cubicBezTo>
                  <a:cubicBezTo>
                    <a:pt x="60" y="128"/>
                    <a:pt x="64" y="132"/>
                    <a:pt x="64" y="138"/>
                  </a:cubicBezTo>
                  <a:cubicBezTo>
                    <a:pt x="64" y="144"/>
                    <a:pt x="60" y="149"/>
                    <a:pt x="54" y="149"/>
                  </a:cubicBezTo>
                  <a:cubicBezTo>
                    <a:pt x="48" y="149"/>
                    <a:pt x="43" y="144"/>
                    <a:pt x="43" y="138"/>
                  </a:cubicBezTo>
                  <a:close/>
                  <a:moveTo>
                    <a:pt x="107" y="138"/>
                  </a:moveTo>
                  <a:cubicBezTo>
                    <a:pt x="107" y="144"/>
                    <a:pt x="102" y="149"/>
                    <a:pt x="96" y="149"/>
                  </a:cubicBezTo>
                  <a:cubicBezTo>
                    <a:pt x="90" y="149"/>
                    <a:pt x="86" y="144"/>
                    <a:pt x="86" y="138"/>
                  </a:cubicBezTo>
                  <a:cubicBezTo>
                    <a:pt x="86" y="132"/>
                    <a:pt x="90" y="128"/>
                    <a:pt x="96" y="128"/>
                  </a:cubicBezTo>
                  <a:cubicBezTo>
                    <a:pt x="102" y="128"/>
                    <a:pt x="107" y="132"/>
                    <a:pt x="107" y="138"/>
                  </a:cubicBezTo>
                  <a:close/>
                  <a:moveTo>
                    <a:pt x="150" y="138"/>
                  </a:moveTo>
                  <a:cubicBezTo>
                    <a:pt x="150" y="144"/>
                    <a:pt x="145" y="149"/>
                    <a:pt x="139" y="149"/>
                  </a:cubicBezTo>
                  <a:cubicBezTo>
                    <a:pt x="133" y="149"/>
                    <a:pt x="128" y="144"/>
                    <a:pt x="128" y="138"/>
                  </a:cubicBezTo>
                  <a:cubicBezTo>
                    <a:pt x="128" y="132"/>
                    <a:pt x="133" y="128"/>
                    <a:pt x="139" y="128"/>
                  </a:cubicBezTo>
                  <a:cubicBezTo>
                    <a:pt x="145" y="128"/>
                    <a:pt x="150" y="132"/>
                    <a:pt x="150" y="138"/>
                  </a:cubicBezTo>
                  <a:close/>
                  <a:moveTo>
                    <a:pt x="192" y="138"/>
                  </a:moveTo>
                  <a:cubicBezTo>
                    <a:pt x="192" y="144"/>
                    <a:pt x="188" y="149"/>
                    <a:pt x="182" y="149"/>
                  </a:cubicBezTo>
                  <a:cubicBezTo>
                    <a:pt x="176" y="149"/>
                    <a:pt x="171" y="144"/>
                    <a:pt x="171" y="138"/>
                  </a:cubicBezTo>
                  <a:cubicBezTo>
                    <a:pt x="171" y="132"/>
                    <a:pt x="176" y="128"/>
                    <a:pt x="182" y="128"/>
                  </a:cubicBezTo>
                  <a:cubicBezTo>
                    <a:pt x="188" y="128"/>
                    <a:pt x="192" y="132"/>
                    <a:pt x="192" y="138"/>
                  </a:cubicBezTo>
                  <a:close/>
                  <a:moveTo>
                    <a:pt x="43" y="181"/>
                  </a:moveTo>
                  <a:cubicBezTo>
                    <a:pt x="43" y="175"/>
                    <a:pt x="48" y="170"/>
                    <a:pt x="54" y="170"/>
                  </a:cubicBezTo>
                  <a:cubicBezTo>
                    <a:pt x="60" y="170"/>
                    <a:pt x="64" y="175"/>
                    <a:pt x="64" y="181"/>
                  </a:cubicBezTo>
                  <a:cubicBezTo>
                    <a:pt x="64" y="187"/>
                    <a:pt x="60" y="192"/>
                    <a:pt x="54" y="192"/>
                  </a:cubicBezTo>
                  <a:cubicBezTo>
                    <a:pt x="48" y="192"/>
                    <a:pt x="43" y="187"/>
                    <a:pt x="43" y="181"/>
                  </a:cubicBezTo>
                  <a:close/>
                  <a:moveTo>
                    <a:pt x="107" y="181"/>
                  </a:moveTo>
                  <a:cubicBezTo>
                    <a:pt x="107" y="187"/>
                    <a:pt x="102" y="192"/>
                    <a:pt x="96" y="192"/>
                  </a:cubicBezTo>
                  <a:cubicBezTo>
                    <a:pt x="90" y="192"/>
                    <a:pt x="86" y="187"/>
                    <a:pt x="86" y="181"/>
                  </a:cubicBezTo>
                  <a:cubicBezTo>
                    <a:pt x="86" y="175"/>
                    <a:pt x="90" y="170"/>
                    <a:pt x="96" y="170"/>
                  </a:cubicBezTo>
                  <a:cubicBezTo>
                    <a:pt x="102" y="170"/>
                    <a:pt x="107" y="175"/>
                    <a:pt x="107" y="181"/>
                  </a:cubicBezTo>
                  <a:close/>
                  <a:moveTo>
                    <a:pt x="150" y="181"/>
                  </a:moveTo>
                  <a:cubicBezTo>
                    <a:pt x="150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ubicBezTo>
                    <a:pt x="128" y="175"/>
                    <a:pt x="133" y="170"/>
                    <a:pt x="139" y="170"/>
                  </a:cubicBezTo>
                  <a:cubicBezTo>
                    <a:pt x="145" y="170"/>
                    <a:pt x="150" y="175"/>
                    <a:pt x="150" y="181"/>
                  </a:cubicBezTo>
                  <a:close/>
                  <a:moveTo>
                    <a:pt x="192" y="181"/>
                  </a:moveTo>
                  <a:cubicBezTo>
                    <a:pt x="192" y="187"/>
                    <a:pt x="188" y="192"/>
                    <a:pt x="182" y="192"/>
                  </a:cubicBezTo>
                  <a:cubicBezTo>
                    <a:pt x="176" y="192"/>
                    <a:pt x="171" y="187"/>
                    <a:pt x="171" y="181"/>
                  </a:cubicBezTo>
                  <a:cubicBezTo>
                    <a:pt x="171" y="175"/>
                    <a:pt x="176" y="170"/>
                    <a:pt x="182" y="170"/>
                  </a:cubicBezTo>
                  <a:cubicBezTo>
                    <a:pt x="188" y="170"/>
                    <a:pt x="192" y="175"/>
                    <a:pt x="192" y="181"/>
                  </a:cubicBezTo>
                  <a:close/>
                  <a:moveTo>
                    <a:pt x="43" y="224"/>
                  </a:moveTo>
                  <a:cubicBezTo>
                    <a:pt x="43" y="218"/>
                    <a:pt x="48" y="213"/>
                    <a:pt x="54" y="213"/>
                  </a:cubicBezTo>
                  <a:cubicBezTo>
                    <a:pt x="60" y="213"/>
                    <a:pt x="64" y="218"/>
                    <a:pt x="64" y="224"/>
                  </a:cubicBezTo>
                  <a:cubicBezTo>
                    <a:pt x="64" y="230"/>
                    <a:pt x="60" y="234"/>
                    <a:pt x="54" y="234"/>
                  </a:cubicBezTo>
                  <a:cubicBezTo>
                    <a:pt x="48" y="234"/>
                    <a:pt x="43" y="230"/>
                    <a:pt x="43" y="224"/>
                  </a:cubicBezTo>
                  <a:close/>
                  <a:moveTo>
                    <a:pt x="107" y="224"/>
                  </a:moveTo>
                  <a:cubicBezTo>
                    <a:pt x="107" y="230"/>
                    <a:pt x="102" y="234"/>
                    <a:pt x="96" y="234"/>
                  </a:cubicBezTo>
                  <a:cubicBezTo>
                    <a:pt x="90" y="234"/>
                    <a:pt x="86" y="230"/>
                    <a:pt x="86" y="224"/>
                  </a:cubicBezTo>
                  <a:cubicBezTo>
                    <a:pt x="86" y="218"/>
                    <a:pt x="90" y="213"/>
                    <a:pt x="96" y="213"/>
                  </a:cubicBezTo>
                  <a:cubicBezTo>
                    <a:pt x="102" y="213"/>
                    <a:pt x="107" y="218"/>
                    <a:pt x="107" y="224"/>
                  </a:cubicBezTo>
                  <a:close/>
                  <a:moveTo>
                    <a:pt x="150" y="224"/>
                  </a:moveTo>
                  <a:cubicBezTo>
                    <a:pt x="150" y="230"/>
                    <a:pt x="145" y="234"/>
                    <a:pt x="139" y="234"/>
                  </a:cubicBezTo>
                  <a:cubicBezTo>
                    <a:pt x="133" y="234"/>
                    <a:pt x="128" y="230"/>
                    <a:pt x="128" y="224"/>
                  </a:cubicBezTo>
                  <a:cubicBezTo>
                    <a:pt x="128" y="218"/>
                    <a:pt x="133" y="213"/>
                    <a:pt x="139" y="213"/>
                  </a:cubicBezTo>
                  <a:cubicBezTo>
                    <a:pt x="145" y="213"/>
                    <a:pt x="150" y="218"/>
                    <a:pt x="150" y="224"/>
                  </a:cubicBezTo>
                  <a:close/>
                  <a:moveTo>
                    <a:pt x="192" y="224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72"/>
                    <a:pt x="188" y="277"/>
                    <a:pt x="182" y="277"/>
                  </a:cubicBezTo>
                  <a:cubicBezTo>
                    <a:pt x="176" y="277"/>
                    <a:pt x="171" y="272"/>
                    <a:pt x="171" y="266"/>
                  </a:cubicBezTo>
                  <a:cubicBezTo>
                    <a:pt x="171" y="224"/>
                    <a:pt x="171" y="224"/>
                    <a:pt x="171" y="224"/>
                  </a:cubicBezTo>
                  <a:cubicBezTo>
                    <a:pt x="171" y="218"/>
                    <a:pt x="176" y="213"/>
                    <a:pt x="182" y="213"/>
                  </a:cubicBezTo>
                  <a:cubicBezTo>
                    <a:pt x="188" y="213"/>
                    <a:pt x="192" y="218"/>
                    <a:pt x="192" y="224"/>
                  </a:cubicBezTo>
                  <a:close/>
                  <a:moveTo>
                    <a:pt x="43" y="266"/>
                  </a:move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72"/>
                    <a:pt x="60" y="277"/>
                    <a:pt x="54" y="277"/>
                  </a:cubicBezTo>
                  <a:cubicBezTo>
                    <a:pt x="48" y="277"/>
                    <a:pt x="43" y="272"/>
                    <a:pt x="43" y="266"/>
                  </a:cubicBezTo>
                  <a:close/>
                  <a:moveTo>
                    <a:pt x="107" y="266"/>
                  </a:moveTo>
                  <a:cubicBezTo>
                    <a:pt x="107" y="272"/>
                    <a:pt x="102" y="277"/>
                    <a:pt x="96" y="277"/>
                  </a:cubicBezTo>
                  <a:cubicBezTo>
                    <a:pt x="90" y="277"/>
                    <a:pt x="86" y="272"/>
                    <a:pt x="86" y="266"/>
                  </a:cubicBezTo>
                  <a:cubicBezTo>
                    <a:pt x="86" y="260"/>
                    <a:pt x="90" y="256"/>
                    <a:pt x="96" y="256"/>
                  </a:cubicBezTo>
                  <a:cubicBezTo>
                    <a:pt x="102" y="256"/>
                    <a:pt x="107" y="260"/>
                    <a:pt x="107" y="266"/>
                  </a:cubicBezTo>
                  <a:close/>
                  <a:moveTo>
                    <a:pt x="150" y="266"/>
                  </a:moveTo>
                  <a:cubicBezTo>
                    <a:pt x="150" y="272"/>
                    <a:pt x="145" y="277"/>
                    <a:pt x="139" y="277"/>
                  </a:cubicBezTo>
                  <a:cubicBezTo>
                    <a:pt x="133" y="277"/>
                    <a:pt x="128" y="272"/>
                    <a:pt x="128" y="266"/>
                  </a:cubicBezTo>
                  <a:cubicBezTo>
                    <a:pt x="128" y="260"/>
                    <a:pt x="133" y="256"/>
                    <a:pt x="139" y="256"/>
                  </a:cubicBezTo>
                  <a:cubicBezTo>
                    <a:pt x="145" y="256"/>
                    <a:pt x="150" y="260"/>
                    <a:pt x="150" y="26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633062">
                <a:defRPr/>
              </a:pPr>
              <a:endParaRPr lang="en-GB" sz="1246">
                <a:solidFill>
                  <a:prstClr val="black"/>
                </a:solidFill>
                <a:latin typeface="Calibri Light"/>
              </a:endParaRP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C5827E62-F4D9-4EC1-972F-79D9F2B21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b="1" dirty="0">
                <a:solidFill>
                  <a:schemeClr val="accent4"/>
                </a:solidFill>
                <a:ea typeface="+mj-lt"/>
                <a:cs typeface="+mj-lt"/>
              </a:rPr>
              <a:t>Impact of the Models </a:t>
            </a:r>
            <a:r>
              <a:rPr lang="en-US" b="1" dirty="0">
                <a:ea typeface="+mj-lt"/>
                <a:cs typeface="+mj-lt"/>
              </a:rPr>
              <a:t>| Conclusion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B84ED9A-BDA4-4854-8D9C-53B7C5009E50}"/>
              </a:ext>
            </a:extLst>
          </p:cNvPr>
          <p:cNvSpPr txBox="1">
            <a:spLocks/>
          </p:cNvSpPr>
          <p:nvPr/>
        </p:nvSpPr>
        <p:spPr>
          <a:xfrm>
            <a:off x="339524" y="651600"/>
            <a:ext cx="8391525" cy="75725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The pruned random forest model performed better than the baseline decision tree and was less complex.</a:t>
            </a:r>
            <a:endParaRPr lang="en-US" sz="14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18BE508-6863-47D2-8CB5-456F3F46A175}"/>
              </a:ext>
            </a:extLst>
          </p:cNvPr>
          <p:cNvGrpSpPr/>
          <p:nvPr/>
        </p:nvGrpSpPr>
        <p:grpSpPr>
          <a:xfrm>
            <a:off x="5706812" y="1890383"/>
            <a:ext cx="2827587" cy="1643392"/>
            <a:chOff x="4510138" y="1184108"/>
            <a:chExt cx="3964709" cy="130109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6C70B0B-FA6D-43E8-97E0-3C9185900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0138" y="1411642"/>
              <a:ext cx="3964709" cy="1073562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lIns="66675" tIns="66675" rIns="66675" bIns="66675" anchor="t"/>
            <a:lstStyle/>
            <a:p>
              <a:pPr defTabSz="718499">
                <a:spcBef>
                  <a:spcPts val="225"/>
                </a:spcBef>
                <a:defRPr/>
              </a:pPr>
              <a:r>
                <a:rPr lang="en-US" sz="1000" dirty="0">
                  <a:latin typeface="-apple-system"/>
                </a:rPr>
                <a:t>It is recommended that the model be used in a </a:t>
              </a:r>
              <a:r>
                <a:rPr lang="en-US" sz="1000" b="1" dirty="0">
                  <a:latin typeface="-apple-system"/>
                </a:rPr>
                <a:t>cursory fashion </a:t>
              </a:r>
              <a:r>
                <a:rPr lang="en-US" sz="1000" dirty="0">
                  <a:latin typeface="-apple-system"/>
                </a:rPr>
                <a:t>to quickly flag transactions for further review. The role of the model is not to serve as the jury, judge, and executioner, but rather, serve as a tool for investigators to more efficiently review transactions and be the first line of defense against fraud.</a:t>
              </a:r>
              <a:endParaRPr lang="en-US" sz="1000" dirty="0">
                <a:latin typeface="+mj-lt"/>
              </a:endParaRPr>
            </a:p>
          </p:txBody>
        </p:sp>
        <p:sp>
          <p:nvSpPr>
            <p:cNvPr id="36" name="Text Box 10">
              <a:extLst>
                <a:ext uri="{FF2B5EF4-FFF2-40B4-BE49-F238E27FC236}">
                  <a16:creationId xmlns:a16="http://schemas.microsoft.com/office/drawing/2014/main" id="{30977A92-4517-4268-A686-1BF364FA9E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0138" y="1184108"/>
              <a:ext cx="3964709" cy="265023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6675" tIns="66675" rIns="66675" bIns="66675" anchor="ctr" anchorCtr="1"/>
            <a:lstStyle/>
            <a:p>
              <a:pPr defTabSz="717947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Recommend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67311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3">
            <a:extLst>
              <a:ext uri="{FF2B5EF4-FFF2-40B4-BE49-F238E27FC236}">
                <a16:creationId xmlns:a16="http://schemas.microsoft.com/office/drawing/2014/main" id="{7AA53DAB-12EB-4497-A3D2-F221665D8D86}"/>
              </a:ext>
            </a:extLst>
          </p:cNvPr>
          <p:cNvSpPr/>
          <p:nvPr/>
        </p:nvSpPr>
        <p:spPr bwMode="gray">
          <a:xfrm>
            <a:off x="2852816" y="3751866"/>
            <a:ext cx="1578673" cy="405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33062">
              <a:defRPr/>
            </a:pPr>
            <a:endParaRPr lang="en-US" sz="762" dirty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07" name="Rectangle 3">
            <a:extLst>
              <a:ext uri="{FF2B5EF4-FFF2-40B4-BE49-F238E27FC236}">
                <a16:creationId xmlns:a16="http://schemas.microsoft.com/office/drawing/2014/main" id="{3D2F90D7-A13A-4887-A373-3BE0BEC51615}"/>
              </a:ext>
            </a:extLst>
          </p:cNvPr>
          <p:cNvSpPr/>
          <p:nvPr/>
        </p:nvSpPr>
        <p:spPr bwMode="gray">
          <a:xfrm>
            <a:off x="4514114" y="3751866"/>
            <a:ext cx="1578673" cy="405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33062">
              <a:defRPr/>
            </a:pPr>
            <a:endParaRPr lang="en-US" sz="762" dirty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38C9B80-D9F8-4D8D-91B0-36D6AB20E6B8}"/>
              </a:ext>
            </a:extLst>
          </p:cNvPr>
          <p:cNvSpPr txBox="1">
            <a:spLocks/>
          </p:cNvSpPr>
          <p:nvPr/>
        </p:nvSpPr>
        <p:spPr bwMode="gray">
          <a:xfrm>
            <a:off x="2852816" y="3061556"/>
            <a:ext cx="1578673" cy="1930156"/>
          </a:xfrm>
          <a:prstGeom prst="rect">
            <a:avLst/>
          </a:prstGeom>
          <a:ln>
            <a:noFill/>
          </a:ln>
        </p:spPr>
        <p:txBody>
          <a:bodyPr vert="horz" lIns="0" tIns="722769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6">
                    <a:lumMod val="40000"/>
                    <a:lumOff val="60000"/>
                  </a:schemeClr>
                </a:solidFill>
              </a:defRPr>
            </a:lvl2pPr>
          </a:lstStyle>
          <a:p>
            <a:pPr lvl="1" algn="ctr" defTabSz="633062">
              <a:spcBef>
                <a:spcPts val="831"/>
              </a:spcBef>
              <a:defRPr/>
            </a:pPr>
            <a:r>
              <a:rPr lang="en-US" sz="1400" dirty="0" err="1">
                <a:solidFill>
                  <a:srgbClr val="046A38"/>
                </a:solidFill>
              </a:rPr>
              <a:t>XGBoost</a:t>
            </a:r>
            <a:endParaRPr lang="en-US" sz="1400" dirty="0">
              <a:solidFill>
                <a:srgbClr val="046A38"/>
              </a:solidFill>
            </a:endParaRPr>
          </a:p>
          <a:p>
            <a:pPr lvl="1" algn="ctr" defTabSz="633062">
              <a:spcBef>
                <a:spcPts val="831"/>
              </a:spcBef>
              <a:defRPr/>
            </a:pPr>
            <a:r>
              <a:rPr lang="en-US" sz="1100" b="0" dirty="0">
                <a:solidFill>
                  <a:prstClr val="black"/>
                </a:solidFill>
              </a:rPr>
              <a:t>Extreme Gradient Boosting</a:t>
            </a:r>
          </a:p>
          <a:p>
            <a:pPr lvl="1" algn="ctr" defTabSz="633062">
              <a:spcBef>
                <a:spcPts val="831"/>
              </a:spcBef>
              <a:defRPr/>
            </a:pPr>
            <a:r>
              <a:rPr lang="en-US" sz="1100" b="0" dirty="0">
                <a:solidFill>
                  <a:prstClr val="black"/>
                </a:solidFill>
              </a:rPr>
              <a:t>Good for large data sets</a:t>
            </a:r>
          </a:p>
          <a:p>
            <a:pPr lvl="1" algn="ctr" defTabSz="633062">
              <a:spcBef>
                <a:spcPts val="831"/>
              </a:spcBef>
              <a:defRPr/>
            </a:pPr>
            <a:r>
              <a:rPr lang="en-US" sz="1100" b="0" dirty="0">
                <a:solidFill>
                  <a:prstClr val="black"/>
                </a:solidFill>
              </a:rPr>
              <a:t>Residual trees are built by calculating similarity scores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7443C9F-6F38-41D1-9AF7-CF5253A53CFD}"/>
              </a:ext>
            </a:extLst>
          </p:cNvPr>
          <p:cNvSpPr txBox="1">
            <a:spLocks/>
          </p:cNvSpPr>
          <p:nvPr/>
        </p:nvSpPr>
        <p:spPr bwMode="gray">
          <a:xfrm>
            <a:off x="4514114" y="3061556"/>
            <a:ext cx="1578673" cy="1827564"/>
          </a:xfrm>
          <a:prstGeom prst="rect">
            <a:avLst/>
          </a:prstGeom>
          <a:ln>
            <a:noFill/>
          </a:ln>
        </p:spPr>
        <p:txBody>
          <a:bodyPr vert="horz" lIns="0" tIns="722769" rIns="0" bIns="0" rtlCol="0" anchor="t">
            <a:spAutoFit/>
          </a:bodyPr>
          <a:lstStyle>
            <a:defPPr>
              <a:defRPr lang="en-US"/>
            </a:defPPr>
            <a:lvl2pPr marL="0" lvl="1">
              <a:spcBef>
                <a:spcPts val="1200"/>
              </a:spcBef>
              <a:buSzPct val="100000"/>
              <a:defRPr sz="1200" b="1">
                <a:solidFill>
                  <a:schemeClr val="accent1"/>
                </a:solidFill>
              </a:defRPr>
            </a:lvl2pPr>
          </a:lstStyle>
          <a:p>
            <a:pPr lvl="1" algn="ctr" defTabSz="633062">
              <a:spcBef>
                <a:spcPts val="831"/>
              </a:spcBef>
              <a:defRPr/>
            </a:pPr>
            <a:r>
              <a:rPr lang="en-US" sz="1400" dirty="0">
                <a:solidFill>
                  <a:srgbClr val="007CB0"/>
                </a:solidFill>
              </a:rPr>
              <a:t>Neural Network</a:t>
            </a:r>
          </a:p>
          <a:p>
            <a:pPr lvl="1" algn="ctr" defTabSz="633062">
              <a:spcBef>
                <a:spcPts val="831"/>
              </a:spcBef>
              <a:defRPr/>
            </a:pPr>
            <a:r>
              <a:rPr lang="en-US" sz="1100" b="0" dirty="0">
                <a:solidFill>
                  <a:prstClr val="black"/>
                </a:solidFill>
              </a:rPr>
              <a:t>Utilizes interconnected nodes and hidden layers</a:t>
            </a:r>
          </a:p>
          <a:p>
            <a:pPr lvl="1" algn="ctr" defTabSz="633062">
              <a:spcBef>
                <a:spcPts val="831"/>
              </a:spcBef>
              <a:defRPr/>
            </a:pPr>
            <a:r>
              <a:rPr lang="en-US" sz="1100" b="0" dirty="0">
                <a:solidFill>
                  <a:prstClr val="black"/>
                </a:solidFill>
              </a:rPr>
              <a:t>Good for complex and large data sets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6664128-FFF9-4B21-8A4E-12599E521DD0}"/>
              </a:ext>
            </a:extLst>
          </p:cNvPr>
          <p:cNvGrpSpPr/>
          <p:nvPr/>
        </p:nvGrpSpPr>
        <p:grpSpPr>
          <a:xfrm>
            <a:off x="3074848" y="1985817"/>
            <a:ext cx="1168308" cy="1506027"/>
            <a:chOff x="3622989" y="1602865"/>
            <a:chExt cx="1598523" cy="2005765"/>
          </a:xfrm>
        </p:grpSpPr>
        <p:sp>
          <p:nvSpPr>
            <p:cNvPr id="127" name="Teardrop 126">
              <a:extLst>
                <a:ext uri="{FF2B5EF4-FFF2-40B4-BE49-F238E27FC236}">
                  <a16:creationId xmlns:a16="http://schemas.microsoft.com/office/drawing/2014/main" id="{8700C81D-8B09-45CB-9BA7-46CE17AC84C4}"/>
                </a:ext>
              </a:extLst>
            </p:cNvPr>
            <p:cNvSpPr/>
            <p:nvPr/>
          </p:nvSpPr>
          <p:spPr bwMode="gray">
            <a:xfrm rot="8100000">
              <a:off x="3670331" y="1602865"/>
              <a:ext cx="1503841" cy="1503844"/>
            </a:xfrm>
            <a:prstGeom prst="teardrop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046A38"/>
                </a:solidFill>
                <a:latin typeface="Verdana"/>
              </a:endParaRPr>
            </a:p>
          </p:txBody>
        </p:sp>
        <p:sp>
          <p:nvSpPr>
            <p:cNvPr id="128" name="Freeform 27">
              <a:extLst>
                <a:ext uri="{FF2B5EF4-FFF2-40B4-BE49-F238E27FC236}">
                  <a16:creationId xmlns:a16="http://schemas.microsoft.com/office/drawing/2014/main" id="{3462ED85-0C05-4CE2-AE44-6035A8D1A9C4}"/>
                </a:ext>
              </a:extLst>
            </p:cNvPr>
            <p:cNvSpPr/>
            <p:nvPr/>
          </p:nvSpPr>
          <p:spPr bwMode="gray">
            <a:xfrm>
              <a:off x="362298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046A38"/>
                </a:solidFill>
                <a:latin typeface="Verdana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DFD0DB57-AC18-4EF1-907F-BF455E79E8D1}"/>
                </a:ext>
              </a:extLst>
            </p:cNvPr>
            <p:cNvSpPr/>
            <p:nvPr/>
          </p:nvSpPr>
          <p:spPr bwMode="gray">
            <a:xfrm>
              <a:off x="3862714" y="1758653"/>
              <a:ext cx="1119070" cy="111907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046A38"/>
                </a:solidFill>
                <a:latin typeface="Verdana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416F2C-AE2C-4787-B0F9-06E24C1BCA16}"/>
              </a:ext>
            </a:extLst>
          </p:cNvPr>
          <p:cNvGrpSpPr/>
          <p:nvPr/>
        </p:nvGrpSpPr>
        <p:grpSpPr>
          <a:xfrm>
            <a:off x="4688329" y="1985817"/>
            <a:ext cx="1168308" cy="1506027"/>
            <a:chOff x="5190209" y="1602865"/>
            <a:chExt cx="1598523" cy="2005765"/>
          </a:xfrm>
        </p:grpSpPr>
        <p:sp>
          <p:nvSpPr>
            <p:cNvPr id="131" name="Teardrop 130">
              <a:extLst>
                <a:ext uri="{FF2B5EF4-FFF2-40B4-BE49-F238E27FC236}">
                  <a16:creationId xmlns:a16="http://schemas.microsoft.com/office/drawing/2014/main" id="{8DAD929B-B306-448A-8D7F-6670106F5B07}"/>
                </a:ext>
              </a:extLst>
            </p:cNvPr>
            <p:cNvSpPr/>
            <p:nvPr/>
          </p:nvSpPr>
          <p:spPr bwMode="gray">
            <a:xfrm rot="8100000">
              <a:off x="5237549" y="1602865"/>
              <a:ext cx="1503841" cy="1503844"/>
            </a:xfrm>
            <a:prstGeom prst="teardrop">
              <a:avLst/>
            </a:pr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02DA98FE-67F2-4190-B846-BC71955D5DCF}"/>
                </a:ext>
              </a:extLst>
            </p:cNvPr>
            <p:cNvSpPr/>
            <p:nvPr/>
          </p:nvSpPr>
          <p:spPr bwMode="gray">
            <a:xfrm>
              <a:off x="5190209" y="2736722"/>
              <a:ext cx="1598523" cy="871908"/>
            </a:xfrm>
            <a:custGeom>
              <a:avLst/>
              <a:gdLst>
                <a:gd name="connsiteX0" fmla="*/ 0 w 2235812"/>
                <a:gd name="connsiteY0" fmla="*/ 0 h 1219515"/>
                <a:gd name="connsiteX1" fmla="*/ 135994 w 2235812"/>
                <a:gd name="connsiteY1" fmla="*/ 0 h 1219515"/>
                <a:gd name="connsiteX2" fmla="*/ 183908 w 2235812"/>
                <a:gd name="connsiteY2" fmla="*/ 81083 h 1219515"/>
                <a:gd name="connsiteX3" fmla="*/ 327199 w 2235812"/>
                <a:gd name="connsiteY3" fmla="*/ 256502 h 1219515"/>
                <a:gd name="connsiteX4" fmla="*/ 1117908 w 2235812"/>
                <a:gd name="connsiteY4" fmla="*/ 1047211 h 1219515"/>
                <a:gd name="connsiteX5" fmla="*/ 1908614 w 2235812"/>
                <a:gd name="connsiteY5" fmla="*/ 256504 h 1219515"/>
                <a:gd name="connsiteX6" fmla="*/ 2051905 w 2235812"/>
                <a:gd name="connsiteY6" fmla="*/ 81085 h 1219515"/>
                <a:gd name="connsiteX7" fmla="*/ 2099821 w 2235812"/>
                <a:gd name="connsiteY7" fmla="*/ 0 h 1219515"/>
                <a:gd name="connsiteX8" fmla="*/ 2235812 w 2235812"/>
                <a:gd name="connsiteY8" fmla="*/ 0 h 1219515"/>
                <a:gd name="connsiteX9" fmla="*/ 2216094 w 2235812"/>
                <a:gd name="connsiteY9" fmla="*/ 42485 h 1219515"/>
                <a:gd name="connsiteX10" fmla="*/ 1994765 w 2235812"/>
                <a:gd name="connsiteY10" fmla="*/ 342657 h 1219515"/>
                <a:gd name="connsiteX11" fmla="*/ 1117907 w 2235812"/>
                <a:gd name="connsiteY11" fmla="*/ 1219515 h 1219515"/>
                <a:gd name="connsiteX12" fmla="*/ 241048 w 2235812"/>
                <a:gd name="connsiteY12" fmla="*/ 342656 h 1219515"/>
                <a:gd name="connsiteX13" fmla="*/ 19718 w 2235812"/>
                <a:gd name="connsiteY13" fmla="*/ 42483 h 121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5812" h="1219515">
                  <a:moveTo>
                    <a:pt x="0" y="0"/>
                  </a:moveTo>
                  <a:lnTo>
                    <a:pt x="135994" y="0"/>
                  </a:lnTo>
                  <a:lnTo>
                    <a:pt x="183908" y="81083"/>
                  </a:lnTo>
                  <a:cubicBezTo>
                    <a:pt x="224849" y="143089"/>
                    <a:pt x="272612" y="201915"/>
                    <a:pt x="327199" y="256502"/>
                  </a:cubicBezTo>
                  <a:lnTo>
                    <a:pt x="1117908" y="1047211"/>
                  </a:lnTo>
                  <a:lnTo>
                    <a:pt x="1908614" y="256504"/>
                  </a:lnTo>
                  <a:cubicBezTo>
                    <a:pt x="1963201" y="201918"/>
                    <a:pt x="2010965" y="143091"/>
                    <a:pt x="2051905" y="81085"/>
                  </a:cubicBezTo>
                  <a:lnTo>
                    <a:pt x="2099821" y="0"/>
                  </a:lnTo>
                  <a:lnTo>
                    <a:pt x="2235812" y="0"/>
                  </a:lnTo>
                  <a:lnTo>
                    <a:pt x="2216094" y="42485"/>
                  </a:lnTo>
                  <a:cubicBezTo>
                    <a:pt x="2159343" y="150476"/>
                    <a:pt x="2085567" y="251855"/>
                    <a:pt x="1994765" y="342657"/>
                  </a:cubicBezTo>
                  <a:lnTo>
                    <a:pt x="1117907" y="1219515"/>
                  </a:lnTo>
                  <a:lnTo>
                    <a:pt x="241048" y="342656"/>
                  </a:lnTo>
                  <a:cubicBezTo>
                    <a:pt x="150246" y="251854"/>
                    <a:pt x="76469" y="150475"/>
                    <a:pt x="19718" y="42483"/>
                  </a:cubicBezTo>
                  <a:close/>
                </a:path>
              </a:pathLst>
            </a:custGeom>
            <a:solidFill>
              <a:schemeClr val="accent6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4AB60942-A244-4F0B-8B45-012B9C782162}"/>
                </a:ext>
              </a:extLst>
            </p:cNvPr>
            <p:cNvSpPr/>
            <p:nvPr/>
          </p:nvSpPr>
          <p:spPr bwMode="gray">
            <a:xfrm>
              <a:off x="5428500" y="1763983"/>
              <a:ext cx="1119071" cy="111907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1546" tIns="61546" rIns="61546" bIns="61546" rtlCol="0" anchor="ctr"/>
            <a:lstStyle/>
            <a:p>
              <a:pPr algn="ctr" defTabSz="844062">
                <a:lnSpc>
                  <a:spcPct val="106000"/>
                </a:lnSpc>
                <a:defRPr/>
              </a:pPr>
              <a:endParaRPr lang="en-US" sz="1108" b="1" dirty="0" err="1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7F4D018-52D1-43F5-90FA-FD3489D874A2}"/>
              </a:ext>
            </a:extLst>
          </p:cNvPr>
          <p:cNvSpPr/>
          <p:nvPr/>
        </p:nvSpPr>
        <p:spPr bwMode="gray">
          <a:xfrm>
            <a:off x="4191528" y="2836136"/>
            <a:ext cx="546267" cy="58483"/>
          </a:xfrm>
          <a:prstGeom prst="rect">
            <a:avLst/>
          </a:prstGeom>
          <a:gradFill>
            <a:gsLst>
              <a:gs pos="17000">
                <a:srgbClr val="046A38"/>
              </a:gs>
              <a:gs pos="83000">
                <a:schemeClr val="accent6"/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61546" tIns="61546" rIns="61546" bIns="61546" rtlCol="0" anchor="ctr"/>
          <a:lstStyle/>
          <a:p>
            <a:pPr algn="ctr" defTabSz="844062">
              <a:lnSpc>
                <a:spcPct val="106000"/>
              </a:lnSpc>
              <a:defRPr/>
            </a:pPr>
            <a:endParaRPr lang="en-US" sz="1108" b="1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D0D2AA2-B901-4EDC-AEE4-B17C5951AE2A}"/>
              </a:ext>
            </a:extLst>
          </p:cNvPr>
          <p:cNvSpPr txBox="1">
            <a:spLocks/>
          </p:cNvSpPr>
          <p:nvPr/>
        </p:nvSpPr>
        <p:spPr>
          <a:xfrm>
            <a:off x="376237" y="651600"/>
            <a:ext cx="8391525" cy="3306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XGBoost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the random forest model could improve performance and neural networks can be utilized.</a:t>
            </a:r>
          </a:p>
        </p:txBody>
      </p:sp>
      <p:sp>
        <p:nvSpPr>
          <p:cNvPr id="58" name="Title 2">
            <a:extLst>
              <a:ext uri="{FF2B5EF4-FFF2-40B4-BE49-F238E27FC236}">
                <a16:creationId xmlns:a16="http://schemas.microsoft.com/office/drawing/2014/main" id="{5BA15D00-C27B-48EA-B8E9-E09F2787227B}"/>
              </a:ext>
            </a:extLst>
          </p:cNvPr>
          <p:cNvSpPr txBox="1">
            <a:spLocks/>
          </p:cNvSpPr>
          <p:nvPr/>
        </p:nvSpPr>
        <p:spPr bwMode="gray"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b="1" dirty="0">
                <a:ea typeface="+mj-lt"/>
                <a:cs typeface="+mj-lt"/>
              </a:rPr>
              <a:t>What more can be done to improve the model and combat financial fraud? </a:t>
            </a:r>
          </a:p>
        </p:txBody>
      </p:sp>
      <p:grpSp>
        <p:nvGrpSpPr>
          <p:cNvPr id="72" name="Graphic 4">
            <a:extLst>
              <a:ext uri="{FF2B5EF4-FFF2-40B4-BE49-F238E27FC236}">
                <a16:creationId xmlns:a16="http://schemas.microsoft.com/office/drawing/2014/main" id="{8BCCA547-9AF3-4E93-8FD3-998E0C6BAD23}"/>
              </a:ext>
            </a:extLst>
          </p:cNvPr>
          <p:cNvGrpSpPr>
            <a:grpSpLocks noChangeAspect="1"/>
          </p:cNvGrpSpPr>
          <p:nvPr/>
        </p:nvGrpSpPr>
        <p:grpSpPr>
          <a:xfrm>
            <a:off x="3309643" y="2180608"/>
            <a:ext cx="674932" cy="676687"/>
            <a:chOff x="467743" y="2855717"/>
            <a:chExt cx="361670" cy="362610"/>
          </a:xfrm>
          <a:solidFill>
            <a:srgbClr val="046A38"/>
          </a:solidFill>
        </p:grpSpPr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C0FDD209-3A8B-47A0-BB5C-942BADC01044}"/>
                </a:ext>
              </a:extLst>
            </p:cNvPr>
            <p:cNvSpPr/>
            <p:nvPr/>
          </p:nvSpPr>
          <p:spPr>
            <a:xfrm>
              <a:off x="467743" y="2855717"/>
              <a:ext cx="361670" cy="362610"/>
            </a:xfrm>
            <a:custGeom>
              <a:avLst/>
              <a:gdLst>
                <a:gd name="connsiteX0" fmla="*/ 180835 w 361670"/>
                <a:gd name="connsiteY0" fmla="*/ 0 h 362610"/>
                <a:gd name="connsiteX1" fmla="*/ 0 w 361670"/>
                <a:gd name="connsiteY1" fmla="*/ 181305 h 362610"/>
                <a:gd name="connsiteX2" fmla="*/ 180835 w 361670"/>
                <a:gd name="connsiteY2" fmla="*/ 362610 h 362610"/>
                <a:gd name="connsiteX3" fmla="*/ 361670 w 361670"/>
                <a:gd name="connsiteY3" fmla="*/ 181305 h 362610"/>
                <a:gd name="connsiteX4" fmla="*/ 361670 w 361670"/>
                <a:gd name="connsiteY4" fmla="*/ 181305 h 362610"/>
                <a:gd name="connsiteX5" fmla="*/ 180835 w 361670"/>
                <a:gd name="connsiteY5" fmla="*/ 0 h 362610"/>
                <a:gd name="connsiteX6" fmla="*/ 180835 w 361670"/>
                <a:gd name="connsiteY6" fmla="*/ 0 h 362610"/>
                <a:gd name="connsiteX7" fmla="*/ 180835 w 361670"/>
                <a:gd name="connsiteY7" fmla="*/ 349204 h 362610"/>
                <a:gd name="connsiteX8" fmla="*/ 12780 w 361670"/>
                <a:gd name="connsiteY8" fmla="*/ 180667 h 362610"/>
                <a:gd name="connsiteX9" fmla="*/ 180835 w 361670"/>
                <a:gd name="connsiteY9" fmla="*/ 12130 h 362610"/>
                <a:gd name="connsiteX10" fmla="*/ 348891 w 361670"/>
                <a:gd name="connsiteY10" fmla="*/ 180667 h 362610"/>
                <a:gd name="connsiteX11" fmla="*/ 180835 w 361670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2610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2610"/>
                    <a:pt x="180835" y="362610"/>
                  </a:cubicBezTo>
                  <a:cubicBezTo>
                    <a:pt x="280518" y="362610"/>
                    <a:pt x="361670" y="281533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0"/>
                    <a:pt x="88181" y="12130"/>
                    <a:pt x="180835" y="12130"/>
                  </a:cubicBezTo>
                  <a:cubicBezTo>
                    <a:pt x="273489" y="12130"/>
                    <a:pt x="348891" y="87460"/>
                    <a:pt x="348891" y="180667"/>
                  </a:cubicBezTo>
                  <a:cubicBezTo>
                    <a:pt x="348891" y="273234"/>
                    <a:pt x="273489" y="348565"/>
                    <a:pt x="180835" y="349204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777E9697-E79D-4B8A-9F7E-A57D13882853}"/>
                </a:ext>
              </a:extLst>
            </p:cNvPr>
            <p:cNvSpPr/>
            <p:nvPr/>
          </p:nvSpPr>
          <p:spPr>
            <a:xfrm>
              <a:off x="603210" y="2977651"/>
              <a:ext cx="92015" cy="121295"/>
            </a:xfrm>
            <a:custGeom>
              <a:avLst/>
              <a:gdLst>
                <a:gd name="connsiteX0" fmla="*/ 92015 w 92015"/>
                <a:gd name="connsiteY0" fmla="*/ 45965 h 121295"/>
                <a:gd name="connsiteX1" fmla="*/ 46008 w 92015"/>
                <a:gd name="connsiteY1" fmla="*/ 0 h 121295"/>
                <a:gd name="connsiteX2" fmla="*/ 46008 w 92015"/>
                <a:gd name="connsiteY2" fmla="*/ 0 h 121295"/>
                <a:gd name="connsiteX3" fmla="*/ 0 w 92015"/>
                <a:gd name="connsiteY3" fmla="*/ 45965 h 121295"/>
                <a:gd name="connsiteX4" fmla="*/ 6390 w 92015"/>
                <a:gd name="connsiteY4" fmla="*/ 69586 h 121295"/>
                <a:gd name="connsiteX5" fmla="*/ 37701 w 92015"/>
                <a:gd name="connsiteY5" fmla="*/ 116827 h 121295"/>
                <a:gd name="connsiteX6" fmla="*/ 46008 w 92015"/>
                <a:gd name="connsiteY6" fmla="*/ 121296 h 121295"/>
                <a:gd name="connsiteX7" fmla="*/ 46008 w 92015"/>
                <a:gd name="connsiteY7" fmla="*/ 121296 h 121295"/>
                <a:gd name="connsiteX8" fmla="*/ 54314 w 92015"/>
                <a:gd name="connsiteY8" fmla="*/ 116827 h 121295"/>
                <a:gd name="connsiteX9" fmla="*/ 85625 w 92015"/>
                <a:gd name="connsiteY9" fmla="*/ 69586 h 121295"/>
                <a:gd name="connsiteX10" fmla="*/ 92015 w 92015"/>
                <a:gd name="connsiteY10" fmla="*/ 45965 h 121295"/>
                <a:gd name="connsiteX11" fmla="*/ 74762 w 92015"/>
                <a:gd name="connsiteY11" fmla="*/ 62563 h 121295"/>
                <a:gd name="connsiteX12" fmla="*/ 46008 w 92015"/>
                <a:gd name="connsiteY12" fmla="*/ 106613 h 121295"/>
                <a:gd name="connsiteX13" fmla="*/ 17253 w 92015"/>
                <a:gd name="connsiteY13" fmla="*/ 63202 h 121295"/>
                <a:gd name="connsiteX14" fmla="*/ 12780 w 92015"/>
                <a:gd name="connsiteY14" fmla="*/ 46603 h 121295"/>
                <a:gd name="connsiteX15" fmla="*/ 46008 w 92015"/>
                <a:gd name="connsiteY15" fmla="*/ 13406 h 121295"/>
                <a:gd name="connsiteX16" fmla="*/ 46647 w 92015"/>
                <a:gd name="connsiteY16" fmla="*/ 13406 h 121295"/>
                <a:gd name="connsiteX17" fmla="*/ 79874 w 92015"/>
                <a:gd name="connsiteY17" fmla="*/ 46603 h 121295"/>
                <a:gd name="connsiteX18" fmla="*/ 74762 w 92015"/>
                <a:gd name="connsiteY18" fmla="*/ 62563 h 121295"/>
                <a:gd name="connsiteX19" fmla="*/ 74762 w 92015"/>
                <a:gd name="connsiteY19" fmla="*/ 62563 h 12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2015" h="121295">
                  <a:moveTo>
                    <a:pt x="92015" y="45965"/>
                  </a:moveTo>
                  <a:cubicBezTo>
                    <a:pt x="92015" y="20429"/>
                    <a:pt x="71567" y="0"/>
                    <a:pt x="46008" y="0"/>
                  </a:cubicBezTo>
                  <a:lnTo>
                    <a:pt x="46008" y="0"/>
                  </a:lnTo>
                  <a:cubicBezTo>
                    <a:pt x="20448" y="0"/>
                    <a:pt x="0" y="20429"/>
                    <a:pt x="0" y="45965"/>
                  </a:cubicBezTo>
                  <a:cubicBezTo>
                    <a:pt x="0" y="54264"/>
                    <a:pt x="1917" y="62563"/>
                    <a:pt x="6390" y="69586"/>
                  </a:cubicBezTo>
                  <a:lnTo>
                    <a:pt x="37701" y="116827"/>
                  </a:lnTo>
                  <a:cubicBezTo>
                    <a:pt x="39618" y="119381"/>
                    <a:pt x="42813" y="121296"/>
                    <a:pt x="46008" y="121296"/>
                  </a:cubicBezTo>
                  <a:lnTo>
                    <a:pt x="46008" y="121296"/>
                  </a:lnTo>
                  <a:cubicBezTo>
                    <a:pt x="49202" y="121296"/>
                    <a:pt x="52397" y="119381"/>
                    <a:pt x="54314" y="116827"/>
                  </a:cubicBezTo>
                  <a:lnTo>
                    <a:pt x="85625" y="69586"/>
                  </a:lnTo>
                  <a:cubicBezTo>
                    <a:pt x="89459" y="61925"/>
                    <a:pt x="92015" y="54264"/>
                    <a:pt x="92015" y="45965"/>
                  </a:cubicBezTo>
                  <a:close/>
                  <a:moveTo>
                    <a:pt x="74762" y="62563"/>
                  </a:moveTo>
                  <a:lnTo>
                    <a:pt x="46008" y="106613"/>
                  </a:lnTo>
                  <a:lnTo>
                    <a:pt x="17253" y="63202"/>
                  </a:lnTo>
                  <a:cubicBezTo>
                    <a:pt x="14058" y="58094"/>
                    <a:pt x="12141" y="52349"/>
                    <a:pt x="12780" y="46603"/>
                  </a:cubicBezTo>
                  <a:cubicBezTo>
                    <a:pt x="12780" y="28090"/>
                    <a:pt x="27477" y="13406"/>
                    <a:pt x="46008" y="13406"/>
                  </a:cubicBezTo>
                  <a:lnTo>
                    <a:pt x="46647" y="13406"/>
                  </a:lnTo>
                  <a:cubicBezTo>
                    <a:pt x="65177" y="13406"/>
                    <a:pt x="79874" y="28728"/>
                    <a:pt x="79874" y="46603"/>
                  </a:cubicBezTo>
                  <a:cubicBezTo>
                    <a:pt x="79235" y="51710"/>
                    <a:pt x="77957" y="57456"/>
                    <a:pt x="74762" y="62563"/>
                  </a:cubicBezTo>
                  <a:lnTo>
                    <a:pt x="74762" y="62563"/>
                  </a:ln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6C8018D4-54CD-4460-9FC3-09AEDB329E3D}"/>
                </a:ext>
              </a:extLst>
            </p:cNvPr>
            <p:cNvSpPr/>
            <p:nvPr/>
          </p:nvSpPr>
          <p:spPr>
            <a:xfrm>
              <a:off x="624935" y="2999357"/>
              <a:ext cx="48563" cy="48518"/>
            </a:xfrm>
            <a:custGeom>
              <a:avLst/>
              <a:gdLst>
                <a:gd name="connsiteX0" fmla="*/ 24282 w 48563"/>
                <a:gd name="connsiteY0" fmla="*/ 0 h 48518"/>
                <a:gd name="connsiteX1" fmla="*/ 0 w 48563"/>
                <a:gd name="connsiteY1" fmla="*/ 24259 h 48518"/>
                <a:gd name="connsiteX2" fmla="*/ 24282 w 48563"/>
                <a:gd name="connsiteY2" fmla="*/ 48518 h 48518"/>
                <a:gd name="connsiteX3" fmla="*/ 48564 w 48563"/>
                <a:gd name="connsiteY3" fmla="*/ 24259 h 48518"/>
                <a:gd name="connsiteX4" fmla="*/ 48564 w 48563"/>
                <a:gd name="connsiteY4" fmla="*/ 24259 h 48518"/>
                <a:gd name="connsiteX5" fmla="*/ 24282 w 48563"/>
                <a:gd name="connsiteY5" fmla="*/ 0 h 48518"/>
                <a:gd name="connsiteX6" fmla="*/ 24282 w 48563"/>
                <a:gd name="connsiteY6" fmla="*/ 36389 h 48518"/>
                <a:gd name="connsiteX7" fmla="*/ 12780 w 48563"/>
                <a:gd name="connsiteY7" fmla="*/ 24897 h 48518"/>
                <a:gd name="connsiteX8" fmla="*/ 24282 w 48563"/>
                <a:gd name="connsiteY8" fmla="*/ 13406 h 48518"/>
                <a:gd name="connsiteX9" fmla="*/ 35784 w 48563"/>
                <a:gd name="connsiteY9" fmla="*/ 24897 h 48518"/>
                <a:gd name="connsiteX10" fmla="*/ 24282 w 48563"/>
                <a:gd name="connsiteY10" fmla="*/ 36389 h 48518"/>
                <a:gd name="connsiteX11" fmla="*/ 24282 w 48563"/>
                <a:gd name="connsiteY11" fmla="*/ 36389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563" h="48518">
                  <a:moveTo>
                    <a:pt x="24282" y="0"/>
                  </a:moveTo>
                  <a:cubicBezTo>
                    <a:pt x="10863" y="0"/>
                    <a:pt x="0" y="10853"/>
                    <a:pt x="0" y="24259"/>
                  </a:cubicBezTo>
                  <a:cubicBezTo>
                    <a:pt x="0" y="37665"/>
                    <a:pt x="10863" y="48518"/>
                    <a:pt x="24282" y="48518"/>
                  </a:cubicBezTo>
                  <a:cubicBezTo>
                    <a:pt x="37701" y="48518"/>
                    <a:pt x="48564" y="37665"/>
                    <a:pt x="48564" y="24259"/>
                  </a:cubicBezTo>
                  <a:cubicBezTo>
                    <a:pt x="48564" y="24259"/>
                    <a:pt x="48564" y="24259"/>
                    <a:pt x="48564" y="24259"/>
                  </a:cubicBezTo>
                  <a:cubicBezTo>
                    <a:pt x="48564" y="10853"/>
                    <a:pt x="37701" y="0"/>
                    <a:pt x="24282" y="0"/>
                  </a:cubicBezTo>
                  <a:close/>
                  <a:moveTo>
                    <a:pt x="24282" y="36389"/>
                  </a:moveTo>
                  <a:cubicBezTo>
                    <a:pt x="17892" y="36389"/>
                    <a:pt x="12780" y="31281"/>
                    <a:pt x="12780" y="24897"/>
                  </a:cubicBezTo>
                  <a:cubicBezTo>
                    <a:pt x="12780" y="18514"/>
                    <a:pt x="17892" y="13406"/>
                    <a:pt x="24282" y="13406"/>
                  </a:cubicBezTo>
                  <a:cubicBezTo>
                    <a:pt x="30672" y="13406"/>
                    <a:pt x="35784" y="18514"/>
                    <a:pt x="35784" y="24897"/>
                  </a:cubicBezTo>
                  <a:cubicBezTo>
                    <a:pt x="35784" y="30643"/>
                    <a:pt x="30672" y="35750"/>
                    <a:pt x="24282" y="36389"/>
                  </a:cubicBezTo>
                  <a:cubicBezTo>
                    <a:pt x="24282" y="36389"/>
                    <a:pt x="24282" y="36389"/>
                    <a:pt x="24282" y="36389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3BB12091-8872-4178-BE4B-3753D100F065}"/>
                </a:ext>
              </a:extLst>
            </p:cNvPr>
            <p:cNvSpPr/>
            <p:nvPr/>
          </p:nvSpPr>
          <p:spPr>
            <a:xfrm>
              <a:off x="527808" y="3030000"/>
              <a:ext cx="44729" cy="12767"/>
            </a:xfrm>
            <a:custGeom>
              <a:avLst/>
              <a:gdLst>
                <a:gd name="connsiteX0" fmla="*/ 44730 w 44729"/>
                <a:gd name="connsiteY0" fmla="*/ 6384 h 12767"/>
                <a:gd name="connsiteX1" fmla="*/ 38340 w 44729"/>
                <a:gd name="connsiteY1" fmla="*/ 0 h 12767"/>
                <a:gd name="connsiteX2" fmla="*/ 6390 w 44729"/>
                <a:gd name="connsiteY2" fmla="*/ 0 h 12767"/>
                <a:gd name="connsiteX3" fmla="*/ 0 w 44729"/>
                <a:gd name="connsiteY3" fmla="*/ 6384 h 12767"/>
                <a:gd name="connsiteX4" fmla="*/ 6390 w 44729"/>
                <a:gd name="connsiteY4" fmla="*/ 12768 h 12767"/>
                <a:gd name="connsiteX5" fmla="*/ 38340 w 44729"/>
                <a:gd name="connsiteY5" fmla="*/ 12768 h 12767"/>
                <a:gd name="connsiteX6" fmla="*/ 44730 w 44729"/>
                <a:gd name="connsiteY6" fmla="*/ 6384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44730" y="6384"/>
                  </a:moveTo>
                  <a:cubicBezTo>
                    <a:pt x="44730" y="2554"/>
                    <a:pt x="42174" y="0"/>
                    <a:pt x="38340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1535" y="12768"/>
                    <a:pt x="44730" y="10214"/>
                    <a:pt x="44730" y="6384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id="{8BFE95BF-EEB4-4C96-9D8A-FB3E07FA0223}"/>
                </a:ext>
              </a:extLst>
            </p:cNvPr>
            <p:cNvSpPr/>
            <p:nvPr/>
          </p:nvSpPr>
          <p:spPr>
            <a:xfrm>
              <a:off x="724618" y="3030000"/>
              <a:ext cx="44729" cy="12767"/>
            </a:xfrm>
            <a:custGeom>
              <a:avLst/>
              <a:gdLst>
                <a:gd name="connsiteX0" fmla="*/ 38340 w 44729"/>
                <a:gd name="connsiteY0" fmla="*/ 0 h 12767"/>
                <a:gd name="connsiteX1" fmla="*/ 6390 w 44729"/>
                <a:gd name="connsiteY1" fmla="*/ 0 h 12767"/>
                <a:gd name="connsiteX2" fmla="*/ 0 w 44729"/>
                <a:gd name="connsiteY2" fmla="*/ 6384 h 12767"/>
                <a:gd name="connsiteX3" fmla="*/ 6390 w 44729"/>
                <a:gd name="connsiteY3" fmla="*/ 12768 h 12767"/>
                <a:gd name="connsiteX4" fmla="*/ 38340 w 44729"/>
                <a:gd name="connsiteY4" fmla="*/ 12768 h 12767"/>
                <a:gd name="connsiteX5" fmla="*/ 44730 w 44729"/>
                <a:gd name="connsiteY5" fmla="*/ 6384 h 12767"/>
                <a:gd name="connsiteX6" fmla="*/ 38340 w 44729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38340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2174" y="12768"/>
                    <a:pt x="44730" y="10214"/>
                    <a:pt x="44730" y="6384"/>
                  </a:cubicBezTo>
                  <a:cubicBezTo>
                    <a:pt x="44730" y="2554"/>
                    <a:pt x="42174" y="0"/>
                    <a:pt x="38340" y="0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id="{15E787BC-81A4-4EC7-994C-E8C6BCB96FC8}"/>
                </a:ext>
              </a:extLst>
            </p:cNvPr>
            <p:cNvSpPr/>
            <p:nvPr/>
          </p:nvSpPr>
          <p:spPr>
            <a:xfrm>
              <a:off x="642188" y="2915088"/>
              <a:ext cx="12779" cy="44687"/>
            </a:xfrm>
            <a:custGeom>
              <a:avLst/>
              <a:gdLst>
                <a:gd name="connsiteX0" fmla="*/ 6390 w 12779"/>
                <a:gd name="connsiteY0" fmla="*/ 44688 h 44687"/>
                <a:gd name="connsiteX1" fmla="*/ 12780 w 12779"/>
                <a:gd name="connsiteY1" fmla="*/ 38304 h 44687"/>
                <a:gd name="connsiteX2" fmla="*/ 12780 w 12779"/>
                <a:gd name="connsiteY2" fmla="*/ 6384 h 44687"/>
                <a:gd name="connsiteX3" fmla="*/ 6390 w 12779"/>
                <a:gd name="connsiteY3" fmla="*/ 0 h 44687"/>
                <a:gd name="connsiteX4" fmla="*/ 0 w 12779"/>
                <a:gd name="connsiteY4" fmla="*/ 6384 h 44687"/>
                <a:gd name="connsiteX5" fmla="*/ 0 w 12779"/>
                <a:gd name="connsiteY5" fmla="*/ 38304 h 44687"/>
                <a:gd name="connsiteX6" fmla="*/ 6390 w 12779"/>
                <a:gd name="connsiteY6" fmla="*/ 44688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44688"/>
                  </a:move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Graphic 4">
              <a:extLst>
                <a:ext uri="{FF2B5EF4-FFF2-40B4-BE49-F238E27FC236}">
                  <a16:creationId xmlns:a16="http://schemas.microsoft.com/office/drawing/2014/main" id="{A9E23AF8-E993-456C-A8C2-3F1FE9D1D789}"/>
                </a:ext>
              </a:extLst>
            </p:cNvPr>
            <p:cNvSpPr/>
            <p:nvPr/>
          </p:nvSpPr>
          <p:spPr>
            <a:xfrm>
              <a:off x="642827" y="3112992"/>
              <a:ext cx="12779" cy="44687"/>
            </a:xfrm>
            <a:custGeom>
              <a:avLst/>
              <a:gdLst>
                <a:gd name="connsiteX0" fmla="*/ 6390 w 12779"/>
                <a:gd name="connsiteY0" fmla="*/ 0 h 44687"/>
                <a:gd name="connsiteX1" fmla="*/ 0 w 12779"/>
                <a:gd name="connsiteY1" fmla="*/ 6384 h 44687"/>
                <a:gd name="connsiteX2" fmla="*/ 0 w 12779"/>
                <a:gd name="connsiteY2" fmla="*/ 38304 h 44687"/>
                <a:gd name="connsiteX3" fmla="*/ 6390 w 12779"/>
                <a:gd name="connsiteY3" fmla="*/ 44688 h 44687"/>
                <a:gd name="connsiteX4" fmla="*/ 12780 w 12779"/>
                <a:gd name="connsiteY4" fmla="*/ 38304 h 44687"/>
                <a:gd name="connsiteX5" fmla="*/ 12780 w 12779"/>
                <a:gd name="connsiteY5" fmla="*/ 6384 h 44687"/>
                <a:gd name="connsiteX6" fmla="*/ 6390 w 12779"/>
                <a:gd name="connsiteY6" fmla="*/ 0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Graphic 4">
              <a:extLst>
                <a:ext uri="{FF2B5EF4-FFF2-40B4-BE49-F238E27FC236}">
                  <a16:creationId xmlns:a16="http://schemas.microsoft.com/office/drawing/2014/main" id="{50153840-6477-439D-9107-2B7DD07BFBA9}"/>
                </a:ext>
              </a:extLst>
            </p:cNvPr>
            <p:cNvSpPr/>
            <p:nvPr/>
          </p:nvSpPr>
          <p:spPr>
            <a:xfrm>
              <a:off x="552729" y="3051067"/>
              <a:ext cx="81152" cy="81076"/>
            </a:xfrm>
            <a:custGeom>
              <a:avLst/>
              <a:gdLst>
                <a:gd name="connsiteX0" fmla="*/ 74762 w 81152"/>
                <a:gd name="connsiteY0" fmla="*/ 68309 h 81076"/>
                <a:gd name="connsiteX1" fmla="*/ 12780 w 81152"/>
                <a:gd name="connsiteY1" fmla="*/ 68309 h 81076"/>
                <a:gd name="connsiteX2" fmla="*/ 12780 w 81152"/>
                <a:gd name="connsiteY2" fmla="*/ 6384 h 81076"/>
                <a:gd name="connsiteX3" fmla="*/ 6390 w 81152"/>
                <a:gd name="connsiteY3" fmla="*/ 0 h 81076"/>
                <a:gd name="connsiteX4" fmla="*/ 0 w 81152"/>
                <a:gd name="connsiteY4" fmla="*/ 6384 h 81076"/>
                <a:gd name="connsiteX5" fmla="*/ 0 w 81152"/>
                <a:gd name="connsiteY5" fmla="*/ 74693 h 81076"/>
                <a:gd name="connsiteX6" fmla="*/ 6390 w 81152"/>
                <a:gd name="connsiteY6" fmla="*/ 81077 h 81076"/>
                <a:gd name="connsiteX7" fmla="*/ 74762 w 81152"/>
                <a:gd name="connsiteY7" fmla="*/ 81077 h 81076"/>
                <a:gd name="connsiteX8" fmla="*/ 81152 w 81152"/>
                <a:gd name="connsiteY8" fmla="*/ 74693 h 81076"/>
                <a:gd name="connsiteX9" fmla="*/ 74762 w 81152"/>
                <a:gd name="connsiteY9" fmla="*/ 68309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68309"/>
                  </a:moveTo>
                  <a:lnTo>
                    <a:pt x="12780" y="68309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cubicBezTo>
                    <a:pt x="81152" y="70862"/>
                    <a:pt x="77957" y="68309"/>
                    <a:pt x="74762" y="68309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Graphic 4">
              <a:extLst>
                <a:ext uri="{FF2B5EF4-FFF2-40B4-BE49-F238E27FC236}">
                  <a16:creationId xmlns:a16="http://schemas.microsoft.com/office/drawing/2014/main" id="{1F01E23A-E5C2-4507-BE2A-40F259996582}"/>
                </a:ext>
              </a:extLst>
            </p:cNvPr>
            <p:cNvSpPr/>
            <p:nvPr/>
          </p:nvSpPr>
          <p:spPr>
            <a:xfrm>
              <a:off x="663275" y="3051067"/>
              <a:ext cx="81152" cy="81076"/>
            </a:xfrm>
            <a:custGeom>
              <a:avLst/>
              <a:gdLst>
                <a:gd name="connsiteX0" fmla="*/ 74762 w 81152"/>
                <a:gd name="connsiteY0" fmla="*/ 0 h 81076"/>
                <a:gd name="connsiteX1" fmla="*/ 68372 w 81152"/>
                <a:gd name="connsiteY1" fmla="*/ 6384 h 81076"/>
                <a:gd name="connsiteX2" fmla="*/ 68372 w 81152"/>
                <a:gd name="connsiteY2" fmla="*/ 68309 h 81076"/>
                <a:gd name="connsiteX3" fmla="*/ 6390 w 81152"/>
                <a:gd name="connsiteY3" fmla="*/ 68309 h 81076"/>
                <a:gd name="connsiteX4" fmla="*/ 0 w 81152"/>
                <a:gd name="connsiteY4" fmla="*/ 74693 h 81076"/>
                <a:gd name="connsiteX5" fmla="*/ 6390 w 81152"/>
                <a:gd name="connsiteY5" fmla="*/ 81077 h 81076"/>
                <a:gd name="connsiteX6" fmla="*/ 74762 w 81152"/>
                <a:gd name="connsiteY6" fmla="*/ 81077 h 81076"/>
                <a:gd name="connsiteX7" fmla="*/ 81152 w 81152"/>
                <a:gd name="connsiteY7" fmla="*/ 74693 h 81076"/>
                <a:gd name="connsiteX8" fmla="*/ 81152 w 81152"/>
                <a:gd name="connsiteY8" fmla="*/ 6384 h 81076"/>
                <a:gd name="connsiteX9" fmla="*/ 74762 w 81152"/>
                <a:gd name="connsiteY9" fmla="*/ 0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0"/>
                  </a:moveTo>
                  <a:cubicBezTo>
                    <a:pt x="70928" y="0"/>
                    <a:pt x="68372" y="2554"/>
                    <a:pt x="68372" y="6384"/>
                  </a:cubicBezTo>
                  <a:lnTo>
                    <a:pt x="68372" y="68309"/>
                  </a:lnTo>
                  <a:lnTo>
                    <a:pt x="6390" y="68309"/>
                  </a:lnTo>
                  <a:cubicBezTo>
                    <a:pt x="2556" y="68309"/>
                    <a:pt x="0" y="70862"/>
                    <a:pt x="0" y="74693"/>
                  </a:cubicBez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Graphic 4">
              <a:extLst>
                <a:ext uri="{FF2B5EF4-FFF2-40B4-BE49-F238E27FC236}">
                  <a16:creationId xmlns:a16="http://schemas.microsoft.com/office/drawing/2014/main" id="{83AA791D-CAB8-4E47-AED3-8C9E4932B074}"/>
                </a:ext>
              </a:extLst>
            </p:cNvPr>
            <p:cNvSpPr/>
            <p:nvPr/>
          </p:nvSpPr>
          <p:spPr>
            <a:xfrm>
              <a:off x="663275" y="2939986"/>
              <a:ext cx="81152" cy="81076"/>
            </a:xfrm>
            <a:custGeom>
              <a:avLst/>
              <a:gdLst>
                <a:gd name="connsiteX0" fmla="*/ 6390 w 81152"/>
                <a:gd name="connsiteY0" fmla="*/ 12768 h 81076"/>
                <a:gd name="connsiteX1" fmla="*/ 68372 w 81152"/>
                <a:gd name="connsiteY1" fmla="*/ 12768 h 81076"/>
                <a:gd name="connsiteX2" fmla="*/ 68372 w 81152"/>
                <a:gd name="connsiteY2" fmla="*/ 74693 h 81076"/>
                <a:gd name="connsiteX3" fmla="*/ 74762 w 81152"/>
                <a:gd name="connsiteY3" fmla="*/ 81077 h 81076"/>
                <a:gd name="connsiteX4" fmla="*/ 81152 w 81152"/>
                <a:gd name="connsiteY4" fmla="*/ 74693 h 81076"/>
                <a:gd name="connsiteX5" fmla="*/ 81152 w 81152"/>
                <a:gd name="connsiteY5" fmla="*/ 6384 h 81076"/>
                <a:gd name="connsiteX6" fmla="*/ 74762 w 81152"/>
                <a:gd name="connsiteY6" fmla="*/ 0 h 81076"/>
                <a:gd name="connsiteX7" fmla="*/ 6390 w 81152"/>
                <a:gd name="connsiteY7" fmla="*/ 0 h 81076"/>
                <a:gd name="connsiteX8" fmla="*/ 0 w 81152"/>
                <a:gd name="connsiteY8" fmla="*/ 6384 h 81076"/>
                <a:gd name="connsiteX9" fmla="*/ 6390 w 81152"/>
                <a:gd name="connsiteY9" fmla="*/ 12768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12768"/>
                  </a:moveTo>
                  <a:lnTo>
                    <a:pt x="68372" y="12768"/>
                  </a:lnTo>
                  <a:lnTo>
                    <a:pt x="68372" y="74693"/>
                  </a:lnTo>
                  <a:cubicBezTo>
                    <a:pt x="68372" y="78523"/>
                    <a:pt x="70928" y="81077"/>
                    <a:pt x="74762" y="81077"/>
                  </a:cubicBez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Graphic 4">
              <a:extLst>
                <a:ext uri="{FF2B5EF4-FFF2-40B4-BE49-F238E27FC236}">
                  <a16:creationId xmlns:a16="http://schemas.microsoft.com/office/drawing/2014/main" id="{01579595-898F-4062-9400-D9D69DE652F0}"/>
                </a:ext>
              </a:extLst>
            </p:cNvPr>
            <p:cNvSpPr/>
            <p:nvPr/>
          </p:nvSpPr>
          <p:spPr>
            <a:xfrm>
              <a:off x="552090" y="2939986"/>
              <a:ext cx="81152" cy="81076"/>
            </a:xfrm>
            <a:custGeom>
              <a:avLst/>
              <a:gdLst>
                <a:gd name="connsiteX0" fmla="*/ 6390 w 81152"/>
                <a:gd name="connsiteY0" fmla="*/ 81077 h 81076"/>
                <a:gd name="connsiteX1" fmla="*/ 12780 w 81152"/>
                <a:gd name="connsiteY1" fmla="*/ 74693 h 81076"/>
                <a:gd name="connsiteX2" fmla="*/ 12780 w 81152"/>
                <a:gd name="connsiteY2" fmla="*/ 12768 h 81076"/>
                <a:gd name="connsiteX3" fmla="*/ 74762 w 81152"/>
                <a:gd name="connsiteY3" fmla="*/ 12768 h 81076"/>
                <a:gd name="connsiteX4" fmla="*/ 81152 w 81152"/>
                <a:gd name="connsiteY4" fmla="*/ 6384 h 81076"/>
                <a:gd name="connsiteX5" fmla="*/ 74762 w 81152"/>
                <a:gd name="connsiteY5" fmla="*/ 0 h 81076"/>
                <a:gd name="connsiteX6" fmla="*/ 6390 w 81152"/>
                <a:gd name="connsiteY6" fmla="*/ 0 h 81076"/>
                <a:gd name="connsiteX7" fmla="*/ 0 w 81152"/>
                <a:gd name="connsiteY7" fmla="*/ 6384 h 81076"/>
                <a:gd name="connsiteX8" fmla="*/ 0 w 81152"/>
                <a:gd name="connsiteY8" fmla="*/ 74693 h 81076"/>
                <a:gd name="connsiteX9" fmla="*/ 6390 w 81152"/>
                <a:gd name="connsiteY9" fmla="*/ 81077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81077"/>
                  </a:moveTo>
                  <a:cubicBezTo>
                    <a:pt x="10224" y="81077"/>
                    <a:pt x="12780" y="78523"/>
                    <a:pt x="12780" y="74693"/>
                  </a:cubicBezTo>
                  <a:lnTo>
                    <a:pt x="12780" y="12768"/>
                  </a:lnTo>
                  <a:lnTo>
                    <a:pt x="74762" y="12768"/>
                  </a:lnTo>
                  <a:cubicBezTo>
                    <a:pt x="78596" y="12768"/>
                    <a:pt x="81152" y="10214"/>
                    <a:pt x="81152" y="6384"/>
                  </a:cubicBez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3195" y="81077"/>
                    <a:pt x="6390" y="81077"/>
                  </a:cubicBezTo>
                  <a:close/>
                </a:path>
              </a:pathLst>
            </a:custGeom>
            <a:solidFill>
              <a:srgbClr val="046A38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D741A6AF-AC15-4184-9C4F-A215303D7E7B}"/>
              </a:ext>
            </a:extLst>
          </p:cNvPr>
          <p:cNvGrpSpPr>
            <a:grpSpLocks noChangeAspect="1"/>
          </p:cNvGrpSpPr>
          <p:nvPr/>
        </p:nvGrpSpPr>
        <p:grpSpPr>
          <a:xfrm>
            <a:off x="4928674" y="2193430"/>
            <a:ext cx="662502" cy="661884"/>
            <a:chOff x="2560447" y="2371173"/>
            <a:chExt cx="361670" cy="361333"/>
          </a:xfrm>
          <a:solidFill>
            <a:srgbClr val="0076A8"/>
          </a:solidFill>
        </p:grpSpPr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334727FF-A5AB-4D2F-ADB2-5D109C4DEFDF}"/>
                </a:ext>
              </a:extLst>
            </p:cNvPr>
            <p:cNvSpPr/>
            <p:nvPr/>
          </p:nvSpPr>
          <p:spPr>
            <a:xfrm>
              <a:off x="2560447" y="237117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0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8"/>
                    <a:pt x="88181" y="13406"/>
                    <a:pt x="180835" y="13406"/>
                  </a:cubicBezTo>
                  <a:cubicBezTo>
                    <a:pt x="273489" y="13406"/>
                    <a:pt x="348890" y="88738"/>
                    <a:pt x="348890" y="181305"/>
                  </a:cubicBezTo>
                  <a:cubicBezTo>
                    <a:pt x="348890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08975E5D-3BF8-4E1D-BA2B-6B1FB6F0CD7C}"/>
                </a:ext>
              </a:extLst>
            </p:cNvPr>
            <p:cNvSpPr/>
            <p:nvPr/>
          </p:nvSpPr>
          <p:spPr>
            <a:xfrm>
              <a:off x="2657415" y="2443422"/>
              <a:ext cx="168768" cy="216945"/>
            </a:xfrm>
            <a:custGeom>
              <a:avLst/>
              <a:gdLst>
                <a:gd name="connsiteX0" fmla="*/ 129236 w 168768"/>
                <a:gd name="connsiteY0" fmla="*/ 8827 h 216945"/>
                <a:gd name="connsiteX1" fmla="*/ 71727 w 168768"/>
                <a:gd name="connsiteY1" fmla="*/ 3720 h 216945"/>
                <a:gd name="connsiteX2" fmla="*/ 18690 w 168768"/>
                <a:gd name="connsiteY2" fmla="*/ 63730 h 216945"/>
                <a:gd name="connsiteX3" fmla="*/ 18052 w 168768"/>
                <a:gd name="connsiteY3" fmla="*/ 68837 h 216945"/>
                <a:gd name="connsiteX4" fmla="*/ 15495 w 168768"/>
                <a:gd name="connsiteY4" fmla="*/ 78413 h 216945"/>
                <a:gd name="connsiteX5" fmla="*/ 799 w 168768"/>
                <a:gd name="connsiteY5" fmla="*/ 109694 h 216945"/>
                <a:gd name="connsiteX6" fmla="*/ 799 w 168768"/>
                <a:gd name="connsiteY6" fmla="*/ 110333 h 216945"/>
                <a:gd name="connsiteX7" fmla="*/ 2077 w 168768"/>
                <a:gd name="connsiteY7" fmla="*/ 122462 h 216945"/>
                <a:gd name="connsiteX8" fmla="*/ 11662 w 168768"/>
                <a:gd name="connsiteY8" fmla="*/ 127569 h 216945"/>
                <a:gd name="connsiteX9" fmla="*/ 18052 w 168768"/>
                <a:gd name="connsiteY9" fmla="*/ 128208 h 216945"/>
                <a:gd name="connsiteX10" fmla="*/ 18052 w 168768"/>
                <a:gd name="connsiteY10" fmla="*/ 146083 h 216945"/>
                <a:gd name="connsiteX11" fmla="*/ 22524 w 168768"/>
                <a:gd name="connsiteY11" fmla="*/ 160766 h 216945"/>
                <a:gd name="connsiteX12" fmla="*/ 39777 w 168768"/>
                <a:gd name="connsiteY12" fmla="*/ 168427 h 216945"/>
                <a:gd name="connsiteX13" fmla="*/ 55113 w 168768"/>
                <a:gd name="connsiteY13" fmla="*/ 169065 h 216945"/>
                <a:gd name="connsiteX14" fmla="*/ 55113 w 168768"/>
                <a:gd name="connsiteY14" fmla="*/ 210561 h 216945"/>
                <a:gd name="connsiteX15" fmla="*/ 61503 w 168768"/>
                <a:gd name="connsiteY15" fmla="*/ 216945 h 216945"/>
                <a:gd name="connsiteX16" fmla="*/ 136265 w 168768"/>
                <a:gd name="connsiteY16" fmla="*/ 216945 h 216945"/>
                <a:gd name="connsiteX17" fmla="*/ 142655 w 168768"/>
                <a:gd name="connsiteY17" fmla="*/ 210561 h 216945"/>
                <a:gd name="connsiteX18" fmla="*/ 142655 w 168768"/>
                <a:gd name="connsiteY18" fmla="*/ 141614 h 216945"/>
                <a:gd name="connsiteX19" fmla="*/ 150323 w 168768"/>
                <a:gd name="connsiteY19" fmla="*/ 123101 h 216945"/>
                <a:gd name="connsiteX20" fmla="*/ 166298 w 168768"/>
                <a:gd name="connsiteY20" fmla="*/ 53515 h 216945"/>
                <a:gd name="connsiteX21" fmla="*/ 129236 w 168768"/>
                <a:gd name="connsiteY21" fmla="*/ 8827 h 216945"/>
                <a:gd name="connsiteX22" fmla="*/ 140099 w 168768"/>
                <a:gd name="connsiteY22" fmla="*/ 115440 h 216945"/>
                <a:gd name="connsiteX23" fmla="*/ 129876 w 168768"/>
                <a:gd name="connsiteY23" fmla="*/ 140976 h 216945"/>
                <a:gd name="connsiteX24" fmla="*/ 129876 w 168768"/>
                <a:gd name="connsiteY24" fmla="*/ 142253 h 216945"/>
                <a:gd name="connsiteX25" fmla="*/ 129876 w 168768"/>
                <a:gd name="connsiteY25" fmla="*/ 205454 h 216945"/>
                <a:gd name="connsiteX26" fmla="*/ 67893 w 168768"/>
                <a:gd name="connsiteY26" fmla="*/ 205454 h 216945"/>
                <a:gd name="connsiteX27" fmla="*/ 67893 w 168768"/>
                <a:gd name="connsiteY27" fmla="*/ 163958 h 216945"/>
                <a:gd name="connsiteX28" fmla="*/ 65976 w 168768"/>
                <a:gd name="connsiteY28" fmla="*/ 159489 h 216945"/>
                <a:gd name="connsiteX29" fmla="*/ 61503 w 168768"/>
                <a:gd name="connsiteY29" fmla="*/ 157574 h 216945"/>
                <a:gd name="connsiteX30" fmla="*/ 41055 w 168768"/>
                <a:gd name="connsiteY30" fmla="*/ 156936 h 216945"/>
                <a:gd name="connsiteX31" fmla="*/ 32748 w 168768"/>
                <a:gd name="connsiteY31" fmla="*/ 153744 h 216945"/>
                <a:gd name="connsiteX32" fmla="*/ 30832 w 168768"/>
                <a:gd name="connsiteY32" fmla="*/ 147998 h 216945"/>
                <a:gd name="connsiteX33" fmla="*/ 30832 w 168768"/>
                <a:gd name="connsiteY33" fmla="*/ 147360 h 216945"/>
                <a:gd name="connsiteX34" fmla="*/ 30832 w 168768"/>
                <a:gd name="connsiteY34" fmla="*/ 123101 h 216945"/>
                <a:gd name="connsiteX35" fmla="*/ 24442 w 168768"/>
                <a:gd name="connsiteY35" fmla="*/ 116717 h 216945"/>
                <a:gd name="connsiteX36" fmla="*/ 12940 w 168768"/>
                <a:gd name="connsiteY36" fmla="*/ 116078 h 216945"/>
                <a:gd name="connsiteX37" fmla="*/ 12940 w 168768"/>
                <a:gd name="connsiteY37" fmla="*/ 116078 h 216945"/>
                <a:gd name="connsiteX38" fmla="*/ 12940 w 168768"/>
                <a:gd name="connsiteY38" fmla="*/ 115440 h 216945"/>
                <a:gd name="connsiteX39" fmla="*/ 26997 w 168768"/>
                <a:gd name="connsiteY39" fmla="*/ 86074 h 216945"/>
                <a:gd name="connsiteX40" fmla="*/ 30832 w 168768"/>
                <a:gd name="connsiteY40" fmla="*/ 70752 h 216945"/>
                <a:gd name="connsiteX41" fmla="*/ 31470 w 168768"/>
                <a:gd name="connsiteY41" fmla="*/ 65645 h 216945"/>
                <a:gd name="connsiteX42" fmla="*/ 75561 w 168768"/>
                <a:gd name="connsiteY42" fmla="*/ 15850 h 216945"/>
                <a:gd name="connsiteX43" fmla="*/ 123486 w 168768"/>
                <a:gd name="connsiteY43" fmla="*/ 20318 h 216945"/>
                <a:gd name="connsiteX44" fmla="*/ 154157 w 168768"/>
                <a:gd name="connsiteY44" fmla="*/ 57346 h 216945"/>
                <a:gd name="connsiteX45" fmla="*/ 140099 w 168768"/>
                <a:gd name="connsiteY45" fmla="*/ 115440 h 216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68768" h="216945">
                  <a:moveTo>
                    <a:pt x="129236" y="8827"/>
                  </a:moveTo>
                  <a:cubicBezTo>
                    <a:pt x="110706" y="-749"/>
                    <a:pt x="89619" y="-2664"/>
                    <a:pt x="71727" y="3720"/>
                  </a:cubicBezTo>
                  <a:cubicBezTo>
                    <a:pt x="42333" y="13934"/>
                    <a:pt x="21885" y="37555"/>
                    <a:pt x="18690" y="63730"/>
                  </a:cubicBezTo>
                  <a:cubicBezTo>
                    <a:pt x="18690" y="65645"/>
                    <a:pt x="18052" y="67560"/>
                    <a:pt x="18052" y="68837"/>
                  </a:cubicBezTo>
                  <a:cubicBezTo>
                    <a:pt x="17413" y="73306"/>
                    <a:pt x="17413" y="75221"/>
                    <a:pt x="15495" y="78413"/>
                  </a:cubicBezTo>
                  <a:cubicBezTo>
                    <a:pt x="11662" y="84797"/>
                    <a:pt x="799" y="108418"/>
                    <a:pt x="799" y="109694"/>
                  </a:cubicBezTo>
                  <a:cubicBezTo>
                    <a:pt x="799" y="109694"/>
                    <a:pt x="799" y="110333"/>
                    <a:pt x="799" y="110333"/>
                  </a:cubicBezTo>
                  <a:cubicBezTo>
                    <a:pt x="160" y="111610"/>
                    <a:pt x="-1118" y="117355"/>
                    <a:pt x="2077" y="122462"/>
                  </a:cubicBezTo>
                  <a:cubicBezTo>
                    <a:pt x="3355" y="124377"/>
                    <a:pt x="6550" y="127569"/>
                    <a:pt x="11662" y="127569"/>
                  </a:cubicBezTo>
                  <a:cubicBezTo>
                    <a:pt x="14218" y="127569"/>
                    <a:pt x="16135" y="127569"/>
                    <a:pt x="18052" y="128208"/>
                  </a:cubicBezTo>
                  <a:lnTo>
                    <a:pt x="18052" y="146083"/>
                  </a:lnTo>
                  <a:cubicBezTo>
                    <a:pt x="18052" y="147998"/>
                    <a:pt x="18052" y="155021"/>
                    <a:pt x="22524" y="160766"/>
                  </a:cubicBezTo>
                  <a:cubicBezTo>
                    <a:pt x="26358" y="165235"/>
                    <a:pt x="32109" y="167788"/>
                    <a:pt x="39777" y="168427"/>
                  </a:cubicBezTo>
                  <a:cubicBezTo>
                    <a:pt x="46806" y="169065"/>
                    <a:pt x="51918" y="169065"/>
                    <a:pt x="55113" y="169065"/>
                  </a:cubicBezTo>
                  <a:lnTo>
                    <a:pt x="55113" y="210561"/>
                  </a:lnTo>
                  <a:cubicBezTo>
                    <a:pt x="55113" y="214392"/>
                    <a:pt x="57669" y="216945"/>
                    <a:pt x="61503" y="216945"/>
                  </a:cubicBezTo>
                  <a:lnTo>
                    <a:pt x="136265" y="216945"/>
                  </a:lnTo>
                  <a:cubicBezTo>
                    <a:pt x="140099" y="216945"/>
                    <a:pt x="142655" y="214392"/>
                    <a:pt x="142655" y="210561"/>
                  </a:cubicBezTo>
                  <a:lnTo>
                    <a:pt x="142655" y="141614"/>
                  </a:lnTo>
                  <a:cubicBezTo>
                    <a:pt x="143294" y="137784"/>
                    <a:pt x="145850" y="127569"/>
                    <a:pt x="150323" y="123101"/>
                  </a:cubicBezTo>
                  <a:cubicBezTo>
                    <a:pt x="154796" y="117993"/>
                    <a:pt x="175883" y="90542"/>
                    <a:pt x="166298" y="53515"/>
                  </a:cubicBezTo>
                  <a:cubicBezTo>
                    <a:pt x="161186" y="35002"/>
                    <a:pt x="147767" y="18403"/>
                    <a:pt x="129236" y="8827"/>
                  </a:cubicBezTo>
                  <a:close/>
                  <a:moveTo>
                    <a:pt x="140099" y="115440"/>
                  </a:moveTo>
                  <a:cubicBezTo>
                    <a:pt x="132431" y="124377"/>
                    <a:pt x="129876" y="139061"/>
                    <a:pt x="129876" y="140976"/>
                  </a:cubicBezTo>
                  <a:cubicBezTo>
                    <a:pt x="129876" y="141614"/>
                    <a:pt x="129876" y="141614"/>
                    <a:pt x="129876" y="142253"/>
                  </a:cubicBezTo>
                  <a:lnTo>
                    <a:pt x="129876" y="205454"/>
                  </a:lnTo>
                  <a:lnTo>
                    <a:pt x="67893" y="205454"/>
                  </a:lnTo>
                  <a:lnTo>
                    <a:pt x="67893" y="163958"/>
                  </a:lnTo>
                  <a:cubicBezTo>
                    <a:pt x="67893" y="162043"/>
                    <a:pt x="67254" y="160766"/>
                    <a:pt x="65976" y="159489"/>
                  </a:cubicBezTo>
                  <a:cubicBezTo>
                    <a:pt x="64698" y="158213"/>
                    <a:pt x="62781" y="157574"/>
                    <a:pt x="61503" y="157574"/>
                  </a:cubicBezTo>
                  <a:cubicBezTo>
                    <a:pt x="61503" y="157574"/>
                    <a:pt x="57030" y="157574"/>
                    <a:pt x="41055" y="156936"/>
                  </a:cubicBezTo>
                  <a:cubicBezTo>
                    <a:pt x="37221" y="156936"/>
                    <a:pt x="34665" y="155659"/>
                    <a:pt x="32748" y="153744"/>
                  </a:cubicBezTo>
                  <a:cubicBezTo>
                    <a:pt x="30832" y="151190"/>
                    <a:pt x="30832" y="147998"/>
                    <a:pt x="30832" y="147998"/>
                  </a:cubicBezTo>
                  <a:cubicBezTo>
                    <a:pt x="30832" y="147998"/>
                    <a:pt x="30832" y="147360"/>
                    <a:pt x="30832" y="147360"/>
                  </a:cubicBezTo>
                  <a:lnTo>
                    <a:pt x="30832" y="123101"/>
                  </a:lnTo>
                  <a:cubicBezTo>
                    <a:pt x="30832" y="119270"/>
                    <a:pt x="28275" y="116717"/>
                    <a:pt x="24442" y="116717"/>
                  </a:cubicBezTo>
                  <a:cubicBezTo>
                    <a:pt x="24442" y="116717"/>
                    <a:pt x="20608" y="116717"/>
                    <a:pt x="12940" y="116078"/>
                  </a:cubicBezTo>
                  <a:cubicBezTo>
                    <a:pt x="12940" y="116078"/>
                    <a:pt x="12940" y="116078"/>
                    <a:pt x="12940" y="116078"/>
                  </a:cubicBezTo>
                  <a:cubicBezTo>
                    <a:pt x="12940" y="116078"/>
                    <a:pt x="12940" y="115440"/>
                    <a:pt x="12940" y="115440"/>
                  </a:cubicBezTo>
                  <a:cubicBezTo>
                    <a:pt x="16135" y="108418"/>
                    <a:pt x="24442" y="90542"/>
                    <a:pt x="26997" y="86074"/>
                  </a:cubicBezTo>
                  <a:cubicBezTo>
                    <a:pt x="30192" y="80328"/>
                    <a:pt x="30832" y="75859"/>
                    <a:pt x="30832" y="70752"/>
                  </a:cubicBezTo>
                  <a:cubicBezTo>
                    <a:pt x="30832" y="69475"/>
                    <a:pt x="30832" y="67560"/>
                    <a:pt x="31470" y="65645"/>
                  </a:cubicBezTo>
                  <a:cubicBezTo>
                    <a:pt x="34026" y="41386"/>
                    <a:pt x="55752" y="22872"/>
                    <a:pt x="75561" y="15850"/>
                  </a:cubicBezTo>
                  <a:cubicBezTo>
                    <a:pt x="90258" y="10742"/>
                    <a:pt x="108150" y="12019"/>
                    <a:pt x="123486" y="20318"/>
                  </a:cubicBezTo>
                  <a:cubicBezTo>
                    <a:pt x="138821" y="28618"/>
                    <a:pt x="149684" y="42024"/>
                    <a:pt x="154157" y="57346"/>
                  </a:cubicBezTo>
                  <a:cubicBezTo>
                    <a:pt x="161825" y="87989"/>
                    <a:pt x="143933" y="110971"/>
                    <a:pt x="140099" y="11544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380E589B-D712-42FC-9A16-106449747498}"/>
                </a:ext>
              </a:extLst>
            </p:cNvPr>
            <p:cNvSpPr/>
            <p:nvPr/>
          </p:nvSpPr>
          <p:spPr>
            <a:xfrm>
              <a:off x="2701026" y="2472088"/>
              <a:ext cx="95849" cy="92519"/>
            </a:xfrm>
            <a:custGeom>
              <a:avLst/>
              <a:gdLst>
                <a:gd name="connsiteX0" fmla="*/ 88181 w 95849"/>
                <a:gd name="connsiteY0" fmla="*/ 34426 h 92519"/>
                <a:gd name="connsiteX1" fmla="*/ 86903 w 95849"/>
                <a:gd name="connsiteY1" fmla="*/ 19104 h 92519"/>
                <a:gd name="connsiteX2" fmla="*/ 73484 w 95849"/>
                <a:gd name="connsiteY2" fmla="*/ 12720 h 92519"/>
                <a:gd name="connsiteX3" fmla="*/ 63260 w 95849"/>
                <a:gd name="connsiteY3" fmla="*/ 1229 h 92519"/>
                <a:gd name="connsiteX4" fmla="*/ 48563 w 95849"/>
                <a:gd name="connsiteY4" fmla="*/ 3783 h 92519"/>
                <a:gd name="connsiteX5" fmla="*/ 33867 w 95849"/>
                <a:gd name="connsiteY5" fmla="*/ 591 h 92519"/>
                <a:gd name="connsiteX6" fmla="*/ 23643 w 95849"/>
                <a:gd name="connsiteY6" fmla="*/ 11443 h 92519"/>
                <a:gd name="connsiteX7" fmla="*/ 9585 w 95849"/>
                <a:gd name="connsiteY7" fmla="*/ 17189 h 92519"/>
                <a:gd name="connsiteX8" fmla="*/ 7668 w 95849"/>
                <a:gd name="connsiteY8" fmla="*/ 31872 h 92519"/>
                <a:gd name="connsiteX9" fmla="*/ 0 w 95849"/>
                <a:gd name="connsiteY9" fmla="*/ 44640 h 92519"/>
                <a:gd name="connsiteX10" fmla="*/ 7668 w 95849"/>
                <a:gd name="connsiteY10" fmla="*/ 58046 h 92519"/>
                <a:gd name="connsiteX11" fmla="*/ 8946 w 95849"/>
                <a:gd name="connsiteY11" fmla="*/ 73368 h 92519"/>
                <a:gd name="connsiteX12" fmla="*/ 22365 w 95849"/>
                <a:gd name="connsiteY12" fmla="*/ 79752 h 92519"/>
                <a:gd name="connsiteX13" fmla="*/ 32589 w 95849"/>
                <a:gd name="connsiteY13" fmla="*/ 91243 h 92519"/>
                <a:gd name="connsiteX14" fmla="*/ 47285 w 95849"/>
                <a:gd name="connsiteY14" fmla="*/ 88689 h 92519"/>
                <a:gd name="connsiteX15" fmla="*/ 58148 w 95849"/>
                <a:gd name="connsiteY15" fmla="*/ 92520 h 92519"/>
                <a:gd name="connsiteX16" fmla="*/ 61982 w 95849"/>
                <a:gd name="connsiteY16" fmla="*/ 91881 h 92519"/>
                <a:gd name="connsiteX17" fmla="*/ 72206 w 95849"/>
                <a:gd name="connsiteY17" fmla="*/ 81029 h 92519"/>
                <a:gd name="connsiteX18" fmla="*/ 86264 w 95849"/>
                <a:gd name="connsiteY18" fmla="*/ 75283 h 92519"/>
                <a:gd name="connsiteX19" fmla="*/ 88181 w 95849"/>
                <a:gd name="connsiteY19" fmla="*/ 60600 h 92519"/>
                <a:gd name="connsiteX20" fmla="*/ 95849 w 95849"/>
                <a:gd name="connsiteY20" fmla="*/ 47832 h 92519"/>
                <a:gd name="connsiteX21" fmla="*/ 88181 w 95849"/>
                <a:gd name="connsiteY21" fmla="*/ 34426 h 92519"/>
                <a:gd name="connsiteX22" fmla="*/ 83069 w 95849"/>
                <a:gd name="connsiteY22" fmla="*/ 38895 h 92519"/>
                <a:gd name="connsiteX23" fmla="*/ 79235 w 95849"/>
                <a:gd name="connsiteY23" fmla="*/ 44002 h 92519"/>
                <a:gd name="connsiteX24" fmla="*/ 79235 w 95849"/>
                <a:gd name="connsiteY24" fmla="*/ 44002 h 92519"/>
                <a:gd name="connsiteX25" fmla="*/ 82430 w 95849"/>
                <a:gd name="connsiteY25" fmla="*/ 47832 h 92519"/>
                <a:gd name="connsiteX26" fmla="*/ 78596 w 95849"/>
                <a:gd name="connsiteY26" fmla="*/ 51662 h 92519"/>
                <a:gd name="connsiteX27" fmla="*/ 75401 w 95849"/>
                <a:gd name="connsiteY27" fmla="*/ 54216 h 92519"/>
                <a:gd name="connsiteX28" fmla="*/ 73484 w 95849"/>
                <a:gd name="connsiteY28" fmla="*/ 56131 h 92519"/>
                <a:gd name="connsiteX29" fmla="*/ 73484 w 95849"/>
                <a:gd name="connsiteY29" fmla="*/ 59323 h 92519"/>
                <a:gd name="connsiteX30" fmla="*/ 74123 w 95849"/>
                <a:gd name="connsiteY30" fmla="*/ 63154 h 92519"/>
                <a:gd name="connsiteX31" fmla="*/ 74762 w 95849"/>
                <a:gd name="connsiteY31" fmla="*/ 68261 h 92519"/>
                <a:gd name="connsiteX32" fmla="*/ 69650 w 95849"/>
                <a:gd name="connsiteY32" fmla="*/ 68899 h 92519"/>
                <a:gd name="connsiteX33" fmla="*/ 65177 w 95849"/>
                <a:gd name="connsiteY33" fmla="*/ 68899 h 92519"/>
                <a:gd name="connsiteX34" fmla="*/ 62621 w 95849"/>
                <a:gd name="connsiteY34" fmla="*/ 69538 h 92519"/>
                <a:gd name="connsiteX35" fmla="*/ 61343 w 95849"/>
                <a:gd name="connsiteY35" fmla="*/ 72091 h 92519"/>
                <a:gd name="connsiteX36" fmla="*/ 60065 w 95849"/>
                <a:gd name="connsiteY36" fmla="*/ 75922 h 92519"/>
                <a:gd name="connsiteX37" fmla="*/ 56870 w 95849"/>
                <a:gd name="connsiteY37" fmla="*/ 80390 h 92519"/>
                <a:gd name="connsiteX38" fmla="*/ 52397 w 95849"/>
                <a:gd name="connsiteY38" fmla="*/ 77837 h 92519"/>
                <a:gd name="connsiteX39" fmla="*/ 49202 w 95849"/>
                <a:gd name="connsiteY39" fmla="*/ 75922 h 92519"/>
                <a:gd name="connsiteX40" fmla="*/ 46646 w 95849"/>
                <a:gd name="connsiteY40" fmla="*/ 74645 h 92519"/>
                <a:gd name="connsiteX41" fmla="*/ 44091 w 95849"/>
                <a:gd name="connsiteY41" fmla="*/ 75922 h 92519"/>
                <a:gd name="connsiteX42" fmla="*/ 40257 w 95849"/>
                <a:gd name="connsiteY42" fmla="*/ 77837 h 92519"/>
                <a:gd name="connsiteX43" fmla="*/ 35783 w 95849"/>
                <a:gd name="connsiteY43" fmla="*/ 79752 h 92519"/>
                <a:gd name="connsiteX44" fmla="*/ 33228 w 95849"/>
                <a:gd name="connsiteY44" fmla="*/ 75283 h 92519"/>
                <a:gd name="connsiteX45" fmla="*/ 31950 w 95849"/>
                <a:gd name="connsiteY45" fmla="*/ 71453 h 92519"/>
                <a:gd name="connsiteX46" fmla="*/ 30672 w 95849"/>
                <a:gd name="connsiteY46" fmla="*/ 68899 h 92519"/>
                <a:gd name="connsiteX47" fmla="*/ 28116 w 95849"/>
                <a:gd name="connsiteY47" fmla="*/ 68261 h 92519"/>
                <a:gd name="connsiteX48" fmla="*/ 24282 w 95849"/>
                <a:gd name="connsiteY48" fmla="*/ 67622 h 92519"/>
                <a:gd name="connsiteX49" fmla="*/ 19170 w 95849"/>
                <a:gd name="connsiteY49" fmla="*/ 66346 h 92519"/>
                <a:gd name="connsiteX50" fmla="*/ 19809 w 95849"/>
                <a:gd name="connsiteY50" fmla="*/ 61238 h 92519"/>
                <a:gd name="connsiteX51" fmla="*/ 21087 w 95849"/>
                <a:gd name="connsiteY51" fmla="*/ 55493 h 92519"/>
                <a:gd name="connsiteX52" fmla="*/ 21087 w 95849"/>
                <a:gd name="connsiteY52" fmla="*/ 52301 h 92519"/>
                <a:gd name="connsiteX53" fmla="*/ 18531 w 95849"/>
                <a:gd name="connsiteY53" fmla="*/ 50386 h 92519"/>
                <a:gd name="connsiteX54" fmla="*/ 16614 w 95849"/>
                <a:gd name="connsiteY54" fmla="*/ 48470 h 92519"/>
                <a:gd name="connsiteX55" fmla="*/ 13419 w 95849"/>
                <a:gd name="connsiteY55" fmla="*/ 44640 h 92519"/>
                <a:gd name="connsiteX56" fmla="*/ 17253 w 95849"/>
                <a:gd name="connsiteY56" fmla="*/ 40810 h 92519"/>
                <a:gd name="connsiteX57" fmla="*/ 20448 w 95849"/>
                <a:gd name="connsiteY57" fmla="*/ 38256 h 92519"/>
                <a:gd name="connsiteX58" fmla="*/ 22365 w 95849"/>
                <a:gd name="connsiteY58" fmla="*/ 36341 h 92519"/>
                <a:gd name="connsiteX59" fmla="*/ 22365 w 95849"/>
                <a:gd name="connsiteY59" fmla="*/ 33787 h 92519"/>
                <a:gd name="connsiteX60" fmla="*/ 21726 w 95849"/>
                <a:gd name="connsiteY60" fmla="*/ 29957 h 92519"/>
                <a:gd name="connsiteX61" fmla="*/ 21087 w 95849"/>
                <a:gd name="connsiteY61" fmla="*/ 24850 h 92519"/>
                <a:gd name="connsiteX62" fmla="*/ 26199 w 95849"/>
                <a:gd name="connsiteY62" fmla="*/ 24211 h 92519"/>
                <a:gd name="connsiteX63" fmla="*/ 30672 w 95849"/>
                <a:gd name="connsiteY63" fmla="*/ 24211 h 92519"/>
                <a:gd name="connsiteX64" fmla="*/ 33228 w 95849"/>
                <a:gd name="connsiteY64" fmla="*/ 23573 h 92519"/>
                <a:gd name="connsiteX65" fmla="*/ 34506 w 95849"/>
                <a:gd name="connsiteY65" fmla="*/ 21019 h 92519"/>
                <a:gd name="connsiteX66" fmla="*/ 35783 w 95849"/>
                <a:gd name="connsiteY66" fmla="*/ 17189 h 92519"/>
                <a:gd name="connsiteX67" fmla="*/ 38340 w 95849"/>
                <a:gd name="connsiteY67" fmla="*/ 12720 h 92519"/>
                <a:gd name="connsiteX68" fmla="*/ 42812 w 95849"/>
                <a:gd name="connsiteY68" fmla="*/ 15274 h 92519"/>
                <a:gd name="connsiteX69" fmla="*/ 46007 w 95849"/>
                <a:gd name="connsiteY69" fmla="*/ 17189 h 92519"/>
                <a:gd name="connsiteX70" fmla="*/ 48563 w 95849"/>
                <a:gd name="connsiteY70" fmla="*/ 18466 h 92519"/>
                <a:gd name="connsiteX71" fmla="*/ 51119 w 95849"/>
                <a:gd name="connsiteY71" fmla="*/ 17189 h 92519"/>
                <a:gd name="connsiteX72" fmla="*/ 54953 w 95849"/>
                <a:gd name="connsiteY72" fmla="*/ 15274 h 92519"/>
                <a:gd name="connsiteX73" fmla="*/ 59426 w 95849"/>
                <a:gd name="connsiteY73" fmla="*/ 13359 h 92519"/>
                <a:gd name="connsiteX74" fmla="*/ 61982 w 95849"/>
                <a:gd name="connsiteY74" fmla="*/ 17827 h 92519"/>
                <a:gd name="connsiteX75" fmla="*/ 63260 w 95849"/>
                <a:gd name="connsiteY75" fmla="*/ 21658 h 92519"/>
                <a:gd name="connsiteX76" fmla="*/ 64538 w 95849"/>
                <a:gd name="connsiteY76" fmla="*/ 24211 h 92519"/>
                <a:gd name="connsiteX77" fmla="*/ 67733 w 95849"/>
                <a:gd name="connsiteY77" fmla="*/ 24850 h 92519"/>
                <a:gd name="connsiteX78" fmla="*/ 71567 w 95849"/>
                <a:gd name="connsiteY78" fmla="*/ 25488 h 92519"/>
                <a:gd name="connsiteX79" fmla="*/ 76679 w 95849"/>
                <a:gd name="connsiteY79" fmla="*/ 26765 h 92519"/>
                <a:gd name="connsiteX80" fmla="*/ 76040 w 95849"/>
                <a:gd name="connsiteY80" fmla="*/ 31872 h 92519"/>
                <a:gd name="connsiteX81" fmla="*/ 74762 w 95849"/>
                <a:gd name="connsiteY81" fmla="*/ 36341 h 92519"/>
                <a:gd name="connsiteX82" fmla="*/ 74762 w 95849"/>
                <a:gd name="connsiteY82" fmla="*/ 38895 h 92519"/>
                <a:gd name="connsiteX83" fmla="*/ 76679 w 95849"/>
                <a:gd name="connsiteY83" fmla="*/ 40810 h 92519"/>
                <a:gd name="connsiteX84" fmla="*/ 79874 w 95849"/>
                <a:gd name="connsiteY84" fmla="*/ 44002 h 92519"/>
                <a:gd name="connsiteX85" fmla="*/ 83069 w 95849"/>
                <a:gd name="connsiteY85" fmla="*/ 38895 h 92519"/>
                <a:gd name="connsiteX86" fmla="*/ 84347 w 95849"/>
                <a:gd name="connsiteY86" fmla="*/ 36979 h 92519"/>
                <a:gd name="connsiteX87" fmla="*/ 84347 w 95849"/>
                <a:gd name="connsiteY87" fmla="*/ 36979 h 92519"/>
                <a:gd name="connsiteX88" fmla="*/ 83069 w 95849"/>
                <a:gd name="connsiteY88" fmla="*/ 38895 h 92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5849" h="92519">
                  <a:moveTo>
                    <a:pt x="88181" y="34426"/>
                  </a:moveTo>
                  <a:cubicBezTo>
                    <a:pt x="89459" y="30595"/>
                    <a:pt x="90737" y="24850"/>
                    <a:pt x="86903" y="19104"/>
                  </a:cubicBezTo>
                  <a:cubicBezTo>
                    <a:pt x="83069" y="13997"/>
                    <a:pt x="77318" y="12720"/>
                    <a:pt x="73484" y="12720"/>
                  </a:cubicBezTo>
                  <a:cubicBezTo>
                    <a:pt x="72206" y="8890"/>
                    <a:pt x="69650" y="3783"/>
                    <a:pt x="63260" y="1229"/>
                  </a:cubicBezTo>
                  <a:cubicBezTo>
                    <a:pt x="56870" y="-686"/>
                    <a:pt x="51758" y="1867"/>
                    <a:pt x="48563" y="3783"/>
                  </a:cubicBezTo>
                  <a:cubicBezTo>
                    <a:pt x="45368" y="1867"/>
                    <a:pt x="40257" y="-1325"/>
                    <a:pt x="33867" y="591"/>
                  </a:cubicBezTo>
                  <a:cubicBezTo>
                    <a:pt x="27477" y="2506"/>
                    <a:pt x="24921" y="7613"/>
                    <a:pt x="23643" y="11443"/>
                  </a:cubicBezTo>
                  <a:cubicBezTo>
                    <a:pt x="19809" y="11443"/>
                    <a:pt x="14058" y="12082"/>
                    <a:pt x="9585" y="17189"/>
                  </a:cubicBezTo>
                  <a:cubicBezTo>
                    <a:pt x="5751" y="22296"/>
                    <a:pt x="6390" y="28042"/>
                    <a:pt x="7668" y="31872"/>
                  </a:cubicBezTo>
                  <a:cubicBezTo>
                    <a:pt x="4473" y="34426"/>
                    <a:pt x="0" y="38256"/>
                    <a:pt x="0" y="44640"/>
                  </a:cubicBezTo>
                  <a:cubicBezTo>
                    <a:pt x="0" y="51024"/>
                    <a:pt x="4473" y="55493"/>
                    <a:pt x="7668" y="58046"/>
                  </a:cubicBezTo>
                  <a:cubicBezTo>
                    <a:pt x="6390" y="61877"/>
                    <a:pt x="5112" y="67622"/>
                    <a:pt x="8946" y="73368"/>
                  </a:cubicBezTo>
                  <a:cubicBezTo>
                    <a:pt x="12780" y="78475"/>
                    <a:pt x="18531" y="79752"/>
                    <a:pt x="22365" y="79752"/>
                  </a:cubicBezTo>
                  <a:cubicBezTo>
                    <a:pt x="23643" y="83582"/>
                    <a:pt x="26199" y="88689"/>
                    <a:pt x="32589" y="91243"/>
                  </a:cubicBezTo>
                  <a:cubicBezTo>
                    <a:pt x="38978" y="93158"/>
                    <a:pt x="44091" y="90605"/>
                    <a:pt x="47285" y="88689"/>
                  </a:cubicBezTo>
                  <a:cubicBezTo>
                    <a:pt x="49841" y="90605"/>
                    <a:pt x="53675" y="92520"/>
                    <a:pt x="58148" y="92520"/>
                  </a:cubicBezTo>
                  <a:cubicBezTo>
                    <a:pt x="59426" y="92520"/>
                    <a:pt x="60704" y="92520"/>
                    <a:pt x="61982" y="91881"/>
                  </a:cubicBezTo>
                  <a:cubicBezTo>
                    <a:pt x="68372" y="89966"/>
                    <a:pt x="70928" y="84859"/>
                    <a:pt x="72206" y="81029"/>
                  </a:cubicBezTo>
                  <a:cubicBezTo>
                    <a:pt x="76040" y="81029"/>
                    <a:pt x="81791" y="80390"/>
                    <a:pt x="86264" y="75283"/>
                  </a:cubicBezTo>
                  <a:cubicBezTo>
                    <a:pt x="90098" y="70176"/>
                    <a:pt x="89459" y="64430"/>
                    <a:pt x="88181" y="60600"/>
                  </a:cubicBezTo>
                  <a:cubicBezTo>
                    <a:pt x="91376" y="58046"/>
                    <a:pt x="95849" y="54216"/>
                    <a:pt x="95849" y="47832"/>
                  </a:cubicBezTo>
                  <a:cubicBezTo>
                    <a:pt x="95849" y="40810"/>
                    <a:pt x="91376" y="36979"/>
                    <a:pt x="88181" y="34426"/>
                  </a:cubicBezTo>
                  <a:close/>
                  <a:moveTo>
                    <a:pt x="83069" y="38895"/>
                  </a:moveTo>
                  <a:lnTo>
                    <a:pt x="79235" y="44002"/>
                  </a:lnTo>
                  <a:lnTo>
                    <a:pt x="79235" y="44002"/>
                  </a:lnTo>
                  <a:cubicBezTo>
                    <a:pt x="80513" y="45278"/>
                    <a:pt x="82430" y="46555"/>
                    <a:pt x="82430" y="47832"/>
                  </a:cubicBezTo>
                  <a:cubicBezTo>
                    <a:pt x="82430" y="49109"/>
                    <a:pt x="80513" y="50386"/>
                    <a:pt x="78596" y="51662"/>
                  </a:cubicBezTo>
                  <a:cubicBezTo>
                    <a:pt x="77318" y="52301"/>
                    <a:pt x="76040" y="53578"/>
                    <a:pt x="75401" y="54216"/>
                  </a:cubicBezTo>
                  <a:lnTo>
                    <a:pt x="73484" y="56131"/>
                  </a:lnTo>
                  <a:lnTo>
                    <a:pt x="73484" y="59323"/>
                  </a:lnTo>
                  <a:cubicBezTo>
                    <a:pt x="73484" y="59962"/>
                    <a:pt x="74123" y="61877"/>
                    <a:pt x="74123" y="63154"/>
                  </a:cubicBezTo>
                  <a:cubicBezTo>
                    <a:pt x="74762" y="65069"/>
                    <a:pt x="75401" y="67622"/>
                    <a:pt x="74762" y="68261"/>
                  </a:cubicBezTo>
                  <a:cubicBezTo>
                    <a:pt x="74123" y="68899"/>
                    <a:pt x="71567" y="68899"/>
                    <a:pt x="69650" y="68899"/>
                  </a:cubicBezTo>
                  <a:cubicBezTo>
                    <a:pt x="68372" y="68899"/>
                    <a:pt x="66455" y="68899"/>
                    <a:pt x="65177" y="68899"/>
                  </a:cubicBezTo>
                  <a:lnTo>
                    <a:pt x="62621" y="69538"/>
                  </a:lnTo>
                  <a:lnTo>
                    <a:pt x="61343" y="72091"/>
                  </a:lnTo>
                  <a:cubicBezTo>
                    <a:pt x="60704" y="72730"/>
                    <a:pt x="60065" y="74645"/>
                    <a:pt x="60065" y="75922"/>
                  </a:cubicBezTo>
                  <a:cubicBezTo>
                    <a:pt x="59426" y="77837"/>
                    <a:pt x="58787" y="80390"/>
                    <a:pt x="56870" y="80390"/>
                  </a:cubicBezTo>
                  <a:cubicBezTo>
                    <a:pt x="55592" y="80390"/>
                    <a:pt x="53675" y="79114"/>
                    <a:pt x="52397" y="77837"/>
                  </a:cubicBezTo>
                  <a:cubicBezTo>
                    <a:pt x="51119" y="77198"/>
                    <a:pt x="49841" y="75922"/>
                    <a:pt x="49202" y="75922"/>
                  </a:cubicBezTo>
                  <a:lnTo>
                    <a:pt x="46646" y="74645"/>
                  </a:lnTo>
                  <a:lnTo>
                    <a:pt x="44091" y="75922"/>
                  </a:lnTo>
                  <a:cubicBezTo>
                    <a:pt x="43451" y="76560"/>
                    <a:pt x="41535" y="77198"/>
                    <a:pt x="40257" y="77837"/>
                  </a:cubicBezTo>
                  <a:cubicBezTo>
                    <a:pt x="38978" y="79114"/>
                    <a:pt x="36423" y="80390"/>
                    <a:pt x="35783" y="79752"/>
                  </a:cubicBezTo>
                  <a:cubicBezTo>
                    <a:pt x="34506" y="79114"/>
                    <a:pt x="33867" y="77198"/>
                    <a:pt x="33228" y="75283"/>
                  </a:cubicBezTo>
                  <a:cubicBezTo>
                    <a:pt x="32589" y="74006"/>
                    <a:pt x="31950" y="72730"/>
                    <a:pt x="31950" y="71453"/>
                  </a:cubicBezTo>
                  <a:lnTo>
                    <a:pt x="30672" y="68899"/>
                  </a:lnTo>
                  <a:lnTo>
                    <a:pt x="28116" y="68261"/>
                  </a:lnTo>
                  <a:cubicBezTo>
                    <a:pt x="27477" y="68261"/>
                    <a:pt x="25560" y="68261"/>
                    <a:pt x="24282" y="67622"/>
                  </a:cubicBezTo>
                  <a:cubicBezTo>
                    <a:pt x="22365" y="67622"/>
                    <a:pt x="19809" y="67622"/>
                    <a:pt x="19170" y="66346"/>
                  </a:cubicBezTo>
                  <a:cubicBezTo>
                    <a:pt x="18531" y="65707"/>
                    <a:pt x="19170" y="63154"/>
                    <a:pt x="19809" y="61238"/>
                  </a:cubicBezTo>
                  <a:cubicBezTo>
                    <a:pt x="20448" y="58685"/>
                    <a:pt x="21087" y="57408"/>
                    <a:pt x="21087" y="55493"/>
                  </a:cubicBezTo>
                  <a:lnTo>
                    <a:pt x="21087" y="52301"/>
                  </a:lnTo>
                  <a:lnTo>
                    <a:pt x="18531" y="50386"/>
                  </a:lnTo>
                  <a:cubicBezTo>
                    <a:pt x="17892" y="50386"/>
                    <a:pt x="17253" y="49109"/>
                    <a:pt x="16614" y="48470"/>
                  </a:cubicBezTo>
                  <a:cubicBezTo>
                    <a:pt x="15336" y="47194"/>
                    <a:pt x="13419" y="45917"/>
                    <a:pt x="13419" y="44640"/>
                  </a:cubicBezTo>
                  <a:cubicBezTo>
                    <a:pt x="13419" y="43363"/>
                    <a:pt x="15336" y="42086"/>
                    <a:pt x="17253" y="40810"/>
                  </a:cubicBezTo>
                  <a:cubicBezTo>
                    <a:pt x="18531" y="40171"/>
                    <a:pt x="19809" y="38895"/>
                    <a:pt x="20448" y="38256"/>
                  </a:cubicBezTo>
                  <a:lnTo>
                    <a:pt x="22365" y="36341"/>
                  </a:lnTo>
                  <a:lnTo>
                    <a:pt x="22365" y="33787"/>
                  </a:lnTo>
                  <a:cubicBezTo>
                    <a:pt x="22365" y="33149"/>
                    <a:pt x="21726" y="31234"/>
                    <a:pt x="21726" y="29957"/>
                  </a:cubicBezTo>
                  <a:cubicBezTo>
                    <a:pt x="21087" y="28042"/>
                    <a:pt x="20448" y="25488"/>
                    <a:pt x="21087" y="24850"/>
                  </a:cubicBezTo>
                  <a:cubicBezTo>
                    <a:pt x="21726" y="24211"/>
                    <a:pt x="24282" y="24211"/>
                    <a:pt x="26199" y="24211"/>
                  </a:cubicBezTo>
                  <a:cubicBezTo>
                    <a:pt x="27477" y="24211"/>
                    <a:pt x="29394" y="24211"/>
                    <a:pt x="30672" y="24211"/>
                  </a:cubicBezTo>
                  <a:lnTo>
                    <a:pt x="33228" y="23573"/>
                  </a:lnTo>
                  <a:lnTo>
                    <a:pt x="34506" y="21019"/>
                  </a:lnTo>
                  <a:cubicBezTo>
                    <a:pt x="35145" y="20381"/>
                    <a:pt x="35783" y="18466"/>
                    <a:pt x="35783" y="17189"/>
                  </a:cubicBezTo>
                  <a:cubicBezTo>
                    <a:pt x="36423" y="15274"/>
                    <a:pt x="37062" y="12720"/>
                    <a:pt x="38340" y="12720"/>
                  </a:cubicBezTo>
                  <a:cubicBezTo>
                    <a:pt x="39617" y="12720"/>
                    <a:pt x="41535" y="13997"/>
                    <a:pt x="42812" y="15274"/>
                  </a:cubicBezTo>
                  <a:cubicBezTo>
                    <a:pt x="44091" y="15912"/>
                    <a:pt x="45368" y="17189"/>
                    <a:pt x="46007" y="17189"/>
                  </a:cubicBezTo>
                  <a:lnTo>
                    <a:pt x="48563" y="18466"/>
                  </a:lnTo>
                  <a:lnTo>
                    <a:pt x="51119" y="17189"/>
                  </a:lnTo>
                  <a:cubicBezTo>
                    <a:pt x="51758" y="16551"/>
                    <a:pt x="53675" y="15912"/>
                    <a:pt x="54953" y="15274"/>
                  </a:cubicBezTo>
                  <a:cubicBezTo>
                    <a:pt x="56231" y="13997"/>
                    <a:pt x="58787" y="12720"/>
                    <a:pt x="59426" y="13359"/>
                  </a:cubicBezTo>
                  <a:cubicBezTo>
                    <a:pt x="60704" y="13997"/>
                    <a:pt x="61343" y="16551"/>
                    <a:pt x="61982" y="17827"/>
                  </a:cubicBezTo>
                  <a:cubicBezTo>
                    <a:pt x="62621" y="19104"/>
                    <a:pt x="63260" y="21019"/>
                    <a:pt x="63260" y="21658"/>
                  </a:cubicBezTo>
                  <a:lnTo>
                    <a:pt x="64538" y="24211"/>
                  </a:lnTo>
                  <a:lnTo>
                    <a:pt x="67733" y="24850"/>
                  </a:lnTo>
                  <a:cubicBezTo>
                    <a:pt x="68372" y="24850"/>
                    <a:pt x="70289" y="24850"/>
                    <a:pt x="71567" y="25488"/>
                  </a:cubicBezTo>
                  <a:cubicBezTo>
                    <a:pt x="73484" y="25488"/>
                    <a:pt x="76040" y="25488"/>
                    <a:pt x="76679" y="26765"/>
                  </a:cubicBezTo>
                  <a:cubicBezTo>
                    <a:pt x="77318" y="27403"/>
                    <a:pt x="76679" y="29957"/>
                    <a:pt x="76040" y="31872"/>
                  </a:cubicBezTo>
                  <a:cubicBezTo>
                    <a:pt x="75401" y="33787"/>
                    <a:pt x="75401" y="35064"/>
                    <a:pt x="74762" y="36341"/>
                  </a:cubicBezTo>
                  <a:lnTo>
                    <a:pt x="74762" y="38895"/>
                  </a:lnTo>
                  <a:lnTo>
                    <a:pt x="76679" y="40810"/>
                  </a:lnTo>
                  <a:cubicBezTo>
                    <a:pt x="77318" y="42086"/>
                    <a:pt x="78596" y="42725"/>
                    <a:pt x="79874" y="44002"/>
                  </a:cubicBezTo>
                  <a:lnTo>
                    <a:pt x="83069" y="38895"/>
                  </a:lnTo>
                  <a:lnTo>
                    <a:pt x="84347" y="36979"/>
                  </a:lnTo>
                  <a:lnTo>
                    <a:pt x="84347" y="36979"/>
                  </a:lnTo>
                  <a:lnTo>
                    <a:pt x="83069" y="3889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6B44462D-78F2-4032-8D21-2F0CCBC0E04C}"/>
                </a:ext>
              </a:extLst>
            </p:cNvPr>
            <p:cNvSpPr/>
            <p:nvPr/>
          </p:nvSpPr>
          <p:spPr>
            <a:xfrm>
              <a:off x="2726110" y="2497101"/>
              <a:ext cx="44402" cy="45163"/>
            </a:xfrm>
            <a:custGeom>
              <a:avLst/>
              <a:gdLst>
                <a:gd name="connsiteX0" fmla="*/ 33064 w 44402"/>
                <a:gd name="connsiteY0" fmla="*/ 2390 h 45163"/>
                <a:gd name="connsiteX1" fmla="*/ 15812 w 44402"/>
                <a:gd name="connsiteY1" fmla="*/ 1114 h 45163"/>
                <a:gd name="connsiteX2" fmla="*/ 2393 w 44402"/>
                <a:gd name="connsiteY2" fmla="*/ 11966 h 45163"/>
                <a:gd name="connsiteX3" fmla="*/ 1115 w 44402"/>
                <a:gd name="connsiteY3" fmla="*/ 29203 h 45163"/>
                <a:gd name="connsiteX4" fmla="*/ 11978 w 44402"/>
                <a:gd name="connsiteY4" fmla="*/ 42610 h 45163"/>
                <a:gd name="connsiteX5" fmla="*/ 22201 w 44402"/>
                <a:gd name="connsiteY5" fmla="*/ 45163 h 45163"/>
                <a:gd name="connsiteX6" fmla="*/ 28591 w 44402"/>
                <a:gd name="connsiteY6" fmla="*/ 43886 h 45163"/>
                <a:gd name="connsiteX7" fmla="*/ 42010 w 44402"/>
                <a:gd name="connsiteY7" fmla="*/ 33034 h 45163"/>
                <a:gd name="connsiteX8" fmla="*/ 43288 w 44402"/>
                <a:gd name="connsiteY8" fmla="*/ 15797 h 45163"/>
                <a:gd name="connsiteX9" fmla="*/ 33064 w 44402"/>
                <a:gd name="connsiteY9" fmla="*/ 2390 h 45163"/>
                <a:gd name="connsiteX10" fmla="*/ 31147 w 44402"/>
                <a:gd name="connsiteY10" fmla="*/ 26650 h 45163"/>
                <a:gd name="connsiteX11" fmla="*/ 25396 w 44402"/>
                <a:gd name="connsiteY11" fmla="*/ 31118 h 45163"/>
                <a:gd name="connsiteX12" fmla="*/ 18367 w 44402"/>
                <a:gd name="connsiteY12" fmla="*/ 30480 h 45163"/>
                <a:gd name="connsiteX13" fmla="*/ 13894 w 44402"/>
                <a:gd name="connsiteY13" fmla="*/ 24734 h 45163"/>
                <a:gd name="connsiteX14" fmla="*/ 14533 w 44402"/>
                <a:gd name="connsiteY14" fmla="*/ 17712 h 45163"/>
                <a:gd name="connsiteX15" fmla="*/ 20284 w 44402"/>
                <a:gd name="connsiteY15" fmla="*/ 13243 h 45163"/>
                <a:gd name="connsiteX16" fmla="*/ 22840 w 44402"/>
                <a:gd name="connsiteY16" fmla="*/ 12605 h 45163"/>
                <a:gd name="connsiteX17" fmla="*/ 27313 w 44402"/>
                <a:gd name="connsiteY17" fmla="*/ 13882 h 45163"/>
                <a:gd name="connsiteX18" fmla="*/ 31786 w 44402"/>
                <a:gd name="connsiteY18" fmla="*/ 19627 h 45163"/>
                <a:gd name="connsiteX19" fmla="*/ 31147 w 44402"/>
                <a:gd name="connsiteY19" fmla="*/ 26650 h 4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402" h="45163">
                  <a:moveTo>
                    <a:pt x="33064" y="2390"/>
                  </a:moveTo>
                  <a:cubicBezTo>
                    <a:pt x="27952" y="-163"/>
                    <a:pt x="21562" y="-802"/>
                    <a:pt x="15812" y="1114"/>
                  </a:cubicBezTo>
                  <a:cubicBezTo>
                    <a:pt x="10061" y="3029"/>
                    <a:pt x="5588" y="6859"/>
                    <a:pt x="2393" y="11966"/>
                  </a:cubicBezTo>
                  <a:cubicBezTo>
                    <a:pt x="-163" y="17074"/>
                    <a:pt x="-802" y="23458"/>
                    <a:pt x="1115" y="29203"/>
                  </a:cubicBezTo>
                  <a:cubicBezTo>
                    <a:pt x="3032" y="34949"/>
                    <a:pt x="6866" y="39418"/>
                    <a:pt x="11978" y="42610"/>
                  </a:cubicBezTo>
                  <a:cubicBezTo>
                    <a:pt x="15172" y="44525"/>
                    <a:pt x="19006" y="45163"/>
                    <a:pt x="22201" y="45163"/>
                  </a:cubicBezTo>
                  <a:cubicBezTo>
                    <a:pt x="24757" y="45163"/>
                    <a:pt x="26674" y="44525"/>
                    <a:pt x="28591" y="43886"/>
                  </a:cubicBezTo>
                  <a:cubicBezTo>
                    <a:pt x="34342" y="41971"/>
                    <a:pt x="38815" y="38141"/>
                    <a:pt x="42010" y="33034"/>
                  </a:cubicBezTo>
                  <a:cubicBezTo>
                    <a:pt x="44566" y="27926"/>
                    <a:pt x="45205" y="21542"/>
                    <a:pt x="43288" y="15797"/>
                  </a:cubicBezTo>
                  <a:cubicBezTo>
                    <a:pt x="42010" y="10051"/>
                    <a:pt x="38176" y="4944"/>
                    <a:pt x="33064" y="2390"/>
                  </a:cubicBezTo>
                  <a:close/>
                  <a:moveTo>
                    <a:pt x="31147" y="26650"/>
                  </a:moveTo>
                  <a:cubicBezTo>
                    <a:pt x="29869" y="29203"/>
                    <a:pt x="27952" y="30480"/>
                    <a:pt x="25396" y="31118"/>
                  </a:cubicBezTo>
                  <a:cubicBezTo>
                    <a:pt x="22840" y="31757"/>
                    <a:pt x="20284" y="31757"/>
                    <a:pt x="18367" y="30480"/>
                  </a:cubicBezTo>
                  <a:cubicBezTo>
                    <a:pt x="15812" y="29203"/>
                    <a:pt x="14533" y="27288"/>
                    <a:pt x="13894" y="24734"/>
                  </a:cubicBezTo>
                  <a:cubicBezTo>
                    <a:pt x="13256" y="22181"/>
                    <a:pt x="13256" y="19627"/>
                    <a:pt x="14533" y="17712"/>
                  </a:cubicBezTo>
                  <a:cubicBezTo>
                    <a:pt x="15812" y="15158"/>
                    <a:pt x="17728" y="13882"/>
                    <a:pt x="20284" y="13243"/>
                  </a:cubicBezTo>
                  <a:cubicBezTo>
                    <a:pt x="20923" y="13243"/>
                    <a:pt x="22201" y="12605"/>
                    <a:pt x="22840" y="12605"/>
                  </a:cubicBezTo>
                  <a:cubicBezTo>
                    <a:pt x="24118" y="12605"/>
                    <a:pt x="26035" y="13243"/>
                    <a:pt x="27313" y="13882"/>
                  </a:cubicBezTo>
                  <a:cubicBezTo>
                    <a:pt x="29869" y="15158"/>
                    <a:pt x="31147" y="17074"/>
                    <a:pt x="31786" y="19627"/>
                  </a:cubicBezTo>
                  <a:cubicBezTo>
                    <a:pt x="32425" y="22181"/>
                    <a:pt x="31786" y="24096"/>
                    <a:pt x="31147" y="2665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297036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picture containing brass, dark, blue&#10;&#10;Description automatically generated">
            <a:extLst>
              <a:ext uri="{FF2B5EF4-FFF2-40B4-BE49-F238E27FC236}">
                <a16:creationId xmlns:a16="http://schemas.microsoft.com/office/drawing/2014/main" id="{20F260A1-5056-4DCA-B1D0-D21514BDE27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/>
          <a:srcRect t="11087" b="13913"/>
          <a:stretch/>
        </p:blipFill>
        <p:spPr>
          <a:xfrm>
            <a:off x="2058452" y="1265139"/>
            <a:ext cx="5027095" cy="3770324"/>
          </a:xfrm>
          <a:noFill/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95801D6-0C1B-4042-8D59-0909C0501312}"/>
              </a:ext>
            </a:extLst>
          </p:cNvPr>
          <p:cNvSpPr txBox="1">
            <a:spLocks/>
          </p:cNvSpPr>
          <p:nvPr/>
        </p:nvSpPr>
        <p:spPr>
          <a:xfrm>
            <a:off x="376239" y="6381750"/>
            <a:ext cx="3334702" cy="27305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fontAlgn="auto">
              <a:spcAft>
                <a:spcPts val="600"/>
              </a:spcAft>
              <a:buClrTx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Questions…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7207756-2C7A-4543-9904-209901975513}"/>
              </a:ext>
            </a:extLst>
          </p:cNvPr>
          <p:cNvSpPr txBox="1">
            <a:spLocks/>
          </p:cNvSpPr>
          <p:nvPr/>
        </p:nvSpPr>
        <p:spPr bwMode="gray">
          <a:xfrm>
            <a:off x="376239" y="5186208"/>
            <a:ext cx="3334702" cy="89598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n-lt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lnSpc>
                <a:spcPts val="3200"/>
              </a:lnSpc>
              <a:spcAft>
                <a:spcPts val="600"/>
              </a:spcAft>
            </a:pPr>
            <a:r>
              <a:rPr lang="en-US" sz="3200" b="0" kern="1200" dirty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3946102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_0222.pptx" id="{1E5302F2-CA52-404C-8DF2-5CFB96840629}" vid="{21A44228-4896-4A5C-8E06-2B3287FB25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3" ma:contentTypeDescription="Create a new document." ma:contentTypeScope="" ma:versionID="0a46a10188038176b4a387d52ea71e7a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9067f50d15324d46a422f953b0a6563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F5FBC8-9FF1-4377-BFED-A78611F885BB}">
  <ds:schemaRefs>
    <ds:schemaRef ds:uri="8ee28f6f-733e-446a-845c-015b8614e1f7"/>
    <ds:schemaRef ds:uri="8f1e2369-70da-40d7-b978-99d0855b91b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05E49B-70B5-4FEC-89D5-F69F52BE5B81}">
  <ds:schemaRefs>
    <ds:schemaRef ds:uri="8ee28f6f-733e-446a-845c-015b8614e1f7"/>
    <ds:schemaRef ds:uri="8f1e2369-70da-40d7-b978-99d0855b91b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_US</Template>
  <TotalTime>453</TotalTime>
  <Words>746</Words>
  <Application>Microsoft Office PowerPoint</Application>
  <PresentationFormat>On-screen Show (4:3)</PresentationFormat>
  <Paragraphs>102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-apple-system</vt:lpstr>
      <vt:lpstr>Arial</vt:lpstr>
      <vt:lpstr>Calibri</vt:lpstr>
      <vt:lpstr>Calibri Light</vt:lpstr>
      <vt:lpstr>source-serif-pro</vt:lpstr>
      <vt:lpstr>Verdana</vt:lpstr>
      <vt:lpstr>Wingdings 2</vt:lpstr>
      <vt:lpstr>Deloitte Brand Theme</vt:lpstr>
      <vt:lpstr>think-cell Slide</vt:lpstr>
      <vt:lpstr>AI Academy Capstone –  Found in a Random Forest</vt:lpstr>
      <vt:lpstr>How prevalent is financial fraud?</vt:lpstr>
      <vt:lpstr>What data set was used and what models were utilized?</vt:lpstr>
      <vt:lpstr>Impact of the Models | Results Overview </vt:lpstr>
      <vt:lpstr>Baseline Decision Tree Model</vt:lpstr>
      <vt:lpstr>Pruned Random Forest Model</vt:lpstr>
      <vt:lpstr>Impact of the Models | Conclu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 heading in Calibri Light green </dc:title>
  <dc:creator>Umholtz, Jake</dc:creator>
  <cp:lastModifiedBy>Umholtz, Jake</cp:lastModifiedBy>
  <cp:revision>1</cp:revision>
  <cp:lastPrinted>2014-06-25T02:16:22Z</cp:lastPrinted>
  <dcterms:created xsi:type="dcterms:W3CDTF">2022-08-17T18:47:44Z</dcterms:created>
  <dcterms:modified xsi:type="dcterms:W3CDTF">2023-02-03T01:0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0B5E8C28FBB4DB6BB6E6547CA8A7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03T00:38:11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1b58518c-eb32-4bca-bb7f-a2619a571b09</vt:lpwstr>
  </property>
  <property fmtid="{D5CDD505-2E9C-101B-9397-08002B2CF9AE}" pid="9" name="MSIP_Label_ea60d57e-af5b-4752-ac57-3e4f28ca11dc_ContentBits">
    <vt:lpwstr>0</vt:lpwstr>
  </property>
</Properties>
</file>